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5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6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7.xml" ContentType="application/vnd.openxmlformats-officedocument.theme+xml"/>
  <Override PartName="/ppt/tags/tag14.xml" ContentType="application/vnd.openxmlformats-officedocument.presentationml.tags+xml"/>
  <Override PartName="/ppt/theme/theme8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1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9.xml" ContentType="application/vnd.openxmlformats-officedocument.presentationml.tags+xml"/>
  <Override PartName="/ppt/notesSlides/notesSlide4.xml" ContentType="application/vnd.openxmlformats-officedocument.presentationml.notesSlide+xml"/>
  <Override PartName="/ppt/tags/tag20.xml" ContentType="application/vnd.openxmlformats-officedocument.presentationml.tags+xml"/>
  <Override PartName="/ppt/notesSlides/notesSlide5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23.xml" ContentType="application/vnd.openxmlformats-officedocument.presentationml.tags+xml"/>
  <Override PartName="/ppt/notesSlides/notesSlide8.xml" ContentType="application/vnd.openxmlformats-officedocument.presentationml.notesSlide+xml"/>
  <Override PartName="/ppt/tags/tag24.xml" ContentType="application/vnd.openxmlformats-officedocument.presentationml.tags+xml"/>
  <Override PartName="/ppt/notesSlides/notesSlide9.xml" ContentType="application/vnd.openxmlformats-officedocument.presentationml.notesSlide+xml"/>
  <Override PartName="/ppt/tags/tag25.xml" ContentType="application/vnd.openxmlformats-officedocument.presentationml.tags+xml"/>
  <Override PartName="/ppt/notesSlides/notesSlide10.xml" ContentType="application/vnd.openxmlformats-officedocument.presentationml.notesSlide+xml"/>
  <Override PartName="/ppt/tags/tag26.xml" ContentType="application/vnd.openxmlformats-officedocument.presentationml.tags+xml"/>
  <Override PartName="/ppt/notesSlides/notesSlide11.xml" ContentType="application/vnd.openxmlformats-officedocument.presentationml.notesSlide+xml"/>
  <Override PartName="/ppt/tags/tag27.xml" ContentType="application/vnd.openxmlformats-officedocument.presentationml.tags+xml"/>
  <Override PartName="/ppt/notesSlides/notesSlide12.xml" ContentType="application/vnd.openxmlformats-officedocument.presentationml.notesSlide+xml"/>
  <Override PartName="/ppt/tags/tag28.xml" ContentType="application/vnd.openxmlformats-officedocument.presentationml.tags+xml"/>
  <Override PartName="/ppt/notesSlides/notesSlide13.xml" ContentType="application/vnd.openxmlformats-officedocument.presentationml.notesSlide+xml"/>
  <Override PartName="/ppt/tags/tag29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9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20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21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tags/tag33.xml" ContentType="application/vnd.openxmlformats-officedocument.presentationml.tags+xml"/>
  <Override PartName="/ppt/notesSlides/notesSlide29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747" r:id="rId5"/>
    <p:sldMasterId id="2147483673" r:id="rId6"/>
    <p:sldMasterId id="2147483686" r:id="rId7"/>
    <p:sldMasterId id="2147483698" r:id="rId8"/>
    <p:sldMasterId id="2147483660" r:id="rId9"/>
    <p:sldMasterId id="2147483759" r:id="rId10"/>
  </p:sldMasterIdLst>
  <p:notesMasterIdLst>
    <p:notesMasterId r:id="rId43"/>
  </p:notesMasterIdLst>
  <p:sldIdLst>
    <p:sldId id="256" r:id="rId11"/>
    <p:sldId id="3536" r:id="rId12"/>
    <p:sldId id="263" r:id="rId13"/>
    <p:sldId id="5196" r:id="rId14"/>
    <p:sldId id="2147309254" r:id="rId15"/>
    <p:sldId id="2147309296" r:id="rId16"/>
    <p:sldId id="2147309275" r:id="rId17"/>
    <p:sldId id="2147309173" r:id="rId18"/>
    <p:sldId id="266" r:id="rId19"/>
    <p:sldId id="265" r:id="rId20"/>
    <p:sldId id="2147309280" r:id="rId21"/>
    <p:sldId id="2147309281" r:id="rId22"/>
    <p:sldId id="2147309279" r:id="rId23"/>
    <p:sldId id="2147309175" r:id="rId24"/>
    <p:sldId id="2147309277" r:id="rId25"/>
    <p:sldId id="6883" r:id="rId26"/>
    <p:sldId id="2147309264" r:id="rId27"/>
    <p:sldId id="6917" r:id="rId28"/>
    <p:sldId id="2147309290" r:id="rId29"/>
    <p:sldId id="6939" r:id="rId30"/>
    <p:sldId id="2147309270" r:id="rId31"/>
    <p:sldId id="2147309267" r:id="rId32"/>
    <p:sldId id="2147309297" r:id="rId33"/>
    <p:sldId id="2147309257" r:id="rId34"/>
    <p:sldId id="2147309271" r:id="rId35"/>
    <p:sldId id="2147309293" r:id="rId36"/>
    <p:sldId id="2147309276" r:id="rId37"/>
    <p:sldId id="2147309179" r:id="rId38"/>
    <p:sldId id="2147309177" r:id="rId39"/>
    <p:sldId id="2147309278" r:id="rId40"/>
    <p:sldId id="667" r:id="rId41"/>
    <p:sldId id="2147309294" r:id="rId42"/>
  </p:sldIdLst>
  <p:sldSz cx="9144000" cy="5143500" type="screen16x9"/>
  <p:notesSz cx="6797675" cy="9926638"/>
  <p:custDataLst>
    <p:tags r:id="rId44"/>
  </p:custDataLst>
  <p:defaultTextStyle>
    <a:defPPr>
      <a:defRPr lang="nb-NO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160CE740-D2B5-4EBF-B8EC-3179E4579064}">
          <p14:sldIdLst>
            <p14:sldId id="256"/>
            <p14:sldId id="3536"/>
            <p14:sldId id="263"/>
            <p14:sldId id="5196"/>
            <p14:sldId id="2147309254"/>
            <p14:sldId id="2147309296"/>
            <p14:sldId id="2147309275"/>
            <p14:sldId id="2147309173"/>
            <p14:sldId id="266"/>
            <p14:sldId id="265"/>
            <p14:sldId id="2147309280"/>
            <p14:sldId id="2147309281"/>
            <p14:sldId id="2147309279"/>
            <p14:sldId id="2147309175"/>
            <p14:sldId id="2147309277"/>
            <p14:sldId id="6883"/>
            <p14:sldId id="2147309264"/>
            <p14:sldId id="6917"/>
            <p14:sldId id="2147309290"/>
            <p14:sldId id="6939"/>
            <p14:sldId id="2147309270"/>
            <p14:sldId id="2147309267"/>
            <p14:sldId id="2147309297"/>
            <p14:sldId id="2147309257"/>
            <p14:sldId id="2147309271"/>
            <p14:sldId id="2147309293"/>
            <p14:sldId id="2147309276"/>
            <p14:sldId id="2147309179"/>
            <p14:sldId id="2147309177"/>
            <p14:sldId id="2147309278"/>
            <p14:sldId id="667"/>
            <p14:sldId id="2147309294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273F832-6C13-68EF-6B7B-ABA9C5EDE550}" name="Gry-Lene Johansen" initials="GLJ" userId="S::grylj@ntnu.no::acbf094c-51cb-4117-b367-2a5f9274475b" providerId="AD"/>
  <p188:author id="{BD64E2F5-DE5F-9D2F-522B-67584DCD03ED}" name="Christina Horvei" initials="CH" userId="S::chrihorv@ntnu.no::a883ca73-a3a6-4204-991d-57d11551949a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ristin Kårøy Overvik" initials="KO" lastIdx="9" clrIdx="0">
    <p:extLst>
      <p:ext uri="{19B8F6BF-5375-455C-9EA6-DF929625EA0E}">
        <p15:presenceInfo xmlns:p15="http://schemas.microsoft.com/office/powerpoint/2012/main" userId="S::kristo@ntnu.no::9f32c53a-86e1-4034-b7b9-1fcc4812f6dd" providerId="AD"/>
      </p:ext>
    </p:extLst>
  </p:cmAuthor>
  <p:cmAuthor id="2" name="Horvei, Christina" initials="HC" lastIdx="5" clrIdx="1">
    <p:extLst>
      <p:ext uri="{19B8F6BF-5375-455C-9EA6-DF929625EA0E}">
        <p15:presenceInfo xmlns:p15="http://schemas.microsoft.com/office/powerpoint/2012/main" userId="S::chorvei@deloitte.no::cd24bc57-60b2-4e37-aa14-cf0aa018956c" providerId="AD"/>
      </p:ext>
    </p:extLst>
  </p:cmAuthor>
  <p:cmAuthor id="3" name="Christina" initials="C" lastIdx="1" clrIdx="2">
    <p:extLst>
      <p:ext uri="{19B8F6BF-5375-455C-9EA6-DF929625EA0E}">
        <p15:presenceInfo xmlns:p15="http://schemas.microsoft.com/office/powerpoint/2012/main" userId="Christina" providerId="None"/>
      </p:ext>
    </p:extLst>
  </p:cmAuthor>
  <p:cmAuthor id="4" name="Christina Horvei" initials="CH" lastIdx="1" clrIdx="3">
    <p:extLst>
      <p:ext uri="{19B8F6BF-5375-455C-9EA6-DF929625EA0E}">
        <p15:presenceInfo xmlns:p15="http://schemas.microsoft.com/office/powerpoint/2012/main" userId="S::chrihorv@ntnu.no::a883ca73-a3a6-4204-991d-57d11551949a" providerId="AD"/>
      </p:ext>
    </p:extLst>
  </p:cmAuthor>
  <p:cmAuthor id="5" name="Gry-Lene Johansen" initials="GLJ" lastIdx="4" clrIdx="4">
    <p:extLst>
      <p:ext uri="{19B8F6BF-5375-455C-9EA6-DF929625EA0E}">
        <p15:presenceInfo xmlns:p15="http://schemas.microsoft.com/office/powerpoint/2012/main" userId="S::grylj@ntnu.no::acbf094c-51cb-4117-b367-2a5f9274475b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509E"/>
    <a:srgbClr val="0D3475"/>
    <a:srgbClr val="6E91B9"/>
    <a:srgbClr val="BBAC7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C0C838B-8685-C1C5-6437-4FA7730A93E5}" v="1" dt="2022-09-19T12:07:30.085"/>
    <p1510:client id="{7B8F7B99-5D96-46BB-9198-C97746ABFCEB}" v="103" dt="2022-09-20T10:17:15.687"/>
    <p1510:client id="{7E1C31CC-684A-489F-8A64-3C9E36AF27DA}" v="157" dt="2022-09-19T14:00:30.466"/>
    <p1510:client id="{8AADD65A-2DF3-4DF6-AA73-9D53B139F5C4}" v="1" dt="2022-09-19T09:57:15.463"/>
    <p1510:client id="{D136F6D5-C7EF-49E6-9D65-68045382D4E7}" v="2478" dt="2022-09-20T07:48:58.357"/>
    <p1510:client id="{D7EA57EF-95ED-4FA0-8E2C-AFA72028121F}" v="5347" dt="2022-09-20T07:14:02.539"/>
    <p1510:client id="{E9D49986-9B3C-AED8-86F2-8D445606BDD3}" v="1" dt="2022-09-19T11:59:26.85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42" d="100"/>
          <a:sy n="142" d="100"/>
        </p:scale>
        <p:origin x="714" y="126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9" Type="http://schemas.openxmlformats.org/officeDocument/2006/relationships/slide" Target="slides/slide29.xml"/><Relationship Id="rId3" Type="http://schemas.openxmlformats.org/officeDocument/2006/relationships/customXml" Target="../customXml/item3.xml"/><Relationship Id="rId21" Type="http://schemas.openxmlformats.org/officeDocument/2006/relationships/slide" Target="slides/slide11.xml"/><Relationship Id="rId34" Type="http://schemas.openxmlformats.org/officeDocument/2006/relationships/slide" Target="slides/slide24.xml"/><Relationship Id="rId42" Type="http://schemas.openxmlformats.org/officeDocument/2006/relationships/slide" Target="slides/slide32.xml"/><Relationship Id="rId47" Type="http://schemas.openxmlformats.org/officeDocument/2006/relationships/viewProps" Target="viewProps.xml"/><Relationship Id="rId50" Type="http://schemas.microsoft.com/office/2015/10/relationships/revisionInfo" Target="revisionInfo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slide" Target="slides/slide23.xml"/><Relationship Id="rId38" Type="http://schemas.openxmlformats.org/officeDocument/2006/relationships/slide" Target="slides/slide28.xml"/><Relationship Id="rId46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slide" Target="slides/slide19.xml"/><Relationship Id="rId41" Type="http://schemas.openxmlformats.org/officeDocument/2006/relationships/slide" Target="slides/slide3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slide" Target="slides/slide22.xml"/><Relationship Id="rId37" Type="http://schemas.openxmlformats.org/officeDocument/2006/relationships/slide" Target="slides/slide27.xml"/><Relationship Id="rId40" Type="http://schemas.openxmlformats.org/officeDocument/2006/relationships/slide" Target="slides/slide30.xml"/><Relationship Id="rId45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36" Type="http://schemas.openxmlformats.org/officeDocument/2006/relationships/slide" Target="slides/slide26.xml"/><Relationship Id="rId49" Type="http://schemas.openxmlformats.org/officeDocument/2006/relationships/tableStyles" Target="tableStyle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9.xml"/><Relationship Id="rId31" Type="http://schemas.openxmlformats.org/officeDocument/2006/relationships/slide" Target="slides/slide21.xml"/><Relationship Id="rId44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slide" Target="slides/slide20.xml"/><Relationship Id="rId35" Type="http://schemas.openxmlformats.org/officeDocument/2006/relationships/slide" Target="slides/slide25.xml"/><Relationship Id="rId43" Type="http://schemas.openxmlformats.org/officeDocument/2006/relationships/notesMaster" Target="notesMasters/notesMaster1.xml"/><Relationship Id="rId48" Type="http://schemas.openxmlformats.org/officeDocument/2006/relationships/theme" Target="theme/theme1.xml"/><Relationship Id="rId8" Type="http://schemas.openxmlformats.org/officeDocument/2006/relationships/slideMaster" Target="slideMasters/slideMaster5.xml"/><Relationship Id="rId51" Type="http://schemas.microsoft.com/office/2018/10/relationships/authors" Target="author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6899751-E627-443E-86C2-E1F8E53D4523}" type="doc">
      <dgm:prSet loTypeId="urn:microsoft.com/office/officeart/2005/8/layout/matrix1" loCatId="matrix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nb-NO"/>
        </a:p>
      </dgm:t>
    </dgm:pt>
    <dgm:pt modelId="{C9EFFB27-0EB2-416B-AC91-600A41FCF8BE}">
      <dgm:prSet phldrT="[Text]" custT="1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nb-NO" sz="1200" b="1">
              <a:solidFill>
                <a:schemeClr val="bg1"/>
              </a:solidFill>
            </a:rPr>
            <a:t>Opplæringsplan</a:t>
          </a:r>
        </a:p>
        <a:p>
          <a:endParaRPr lang="nb-NO" sz="1200" b="1">
            <a:solidFill>
              <a:schemeClr val="bg1"/>
            </a:solidFill>
          </a:endParaRPr>
        </a:p>
        <a:p>
          <a:endParaRPr lang="nb-NO" sz="1200" b="1">
            <a:solidFill>
              <a:schemeClr val="bg1"/>
            </a:solidFill>
          </a:endParaRPr>
        </a:p>
      </dgm:t>
    </dgm:pt>
    <dgm:pt modelId="{DDC05AC6-6FDE-45D5-B6D0-91F63CFA3D0B}" type="parTrans" cxnId="{5EB6997E-2515-4492-9ED9-DD997A465287}">
      <dgm:prSet/>
      <dgm:spPr/>
      <dgm:t>
        <a:bodyPr/>
        <a:lstStyle/>
        <a:p>
          <a:endParaRPr lang="nb-NO" sz="1200"/>
        </a:p>
      </dgm:t>
    </dgm:pt>
    <dgm:pt modelId="{7D514737-E564-49EC-B82C-C49065456AFE}" type="sibTrans" cxnId="{5EB6997E-2515-4492-9ED9-DD997A465287}">
      <dgm:prSet/>
      <dgm:spPr/>
      <dgm:t>
        <a:bodyPr/>
        <a:lstStyle/>
        <a:p>
          <a:endParaRPr lang="nb-NO" sz="1200"/>
        </a:p>
      </dgm:t>
    </dgm:pt>
    <dgm:pt modelId="{A0E0BC68-5B44-44FC-9DDD-9A5AFD158759}">
      <dgm:prSet phldrT="[Text]" custT="1"/>
      <dgm:spPr>
        <a:solidFill>
          <a:schemeClr val="accent1">
            <a:lumMod val="90000"/>
          </a:schemeClr>
        </a:solidFill>
      </dgm:spPr>
      <dgm:t>
        <a:bodyPr/>
        <a:lstStyle/>
        <a:p>
          <a:pPr>
            <a:lnSpc>
              <a:spcPct val="90000"/>
            </a:lnSpc>
            <a:spcAft>
              <a:spcPct val="35000"/>
            </a:spcAft>
            <a:buNone/>
          </a:pPr>
          <a:endParaRPr lang="nb-NO" sz="1200"/>
        </a:p>
        <a:p>
          <a:pPr>
            <a:lnSpc>
              <a:spcPct val="90000"/>
            </a:lnSpc>
            <a:spcAft>
              <a:spcPct val="35000"/>
            </a:spcAft>
            <a:buNone/>
          </a:pPr>
          <a:r>
            <a:rPr lang="nb-NO" sz="1200" b="1"/>
            <a:t>Brukerstøtte</a:t>
          </a:r>
        </a:p>
        <a:p>
          <a:pPr>
            <a:lnSpc>
              <a:spcPct val="100000"/>
            </a:lnSpc>
            <a:spcAft>
              <a:spcPts val="0"/>
            </a:spcAft>
            <a:buFont typeface="Arial" panose="020B0604020202020204" pitchFamily="34" charset="0"/>
            <a:buChar char="•"/>
          </a:pPr>
          <a:r>
            <a:rPr lang="nb-NO" sz="1200"/>
            <a:t>- Ekstra brukerstøtte ved oppstart</a:t>
          </a:r>
        </a:p>
        <a:p>
          <a:pPr>
            <a:lnSpc>
              <a:spcPct val="100000"/>
            </a:lnSpc>
            <a:spcAft>
              <a:spcPts val="0"/>
            </a:spcAft>
            <a:buFont typeface="Arial" panose="020B0604020202020204" pitchFamily="34" charset="0"/>
            <a:buChar char="•"/>
          </a:pPr>
          <a:r>
            <a:rPr lang="nb-NO" sz="1200"/>
            <a:t>- Teams-rom/ kanaler for utvalgte roller </a:t>
          </a:r>
        </a:p>
        <a:p>
          <a:pPr>
            <a:lnSpc>
              <a:spcPct val="100000"/>
            </a:lnSpc>
            <a:spcAft>
              <a:spcPts val="0"/>
            </a:spcAft>
            <a:buFont typeface="Arial" panose="020B0604020202020204" pitchFamily="34" charset="0"/>
            <a:buChar char="•"/>
          </a:pPr>
          <a:r>
            <a:rPr lang="nb-NO" sz="1200"/>
            <a:t>- Nettsider</a:t>
          </a:r>
        </a:p>
        <a:p>
          <a:pPr>
            <a:lnSpc>
              <a:spcPct val="100000"/>
            </a:lnSpc>
            <a:spcAft>
              <a:spcPts val="0"/>
            </a:spcAft>
            <a:buFont typeface="Arial" panose="020B0604020202020204" pitchFamily="34" charset="0"/>
            <a:buChar char="•"/>
          </a:pPr>
          <a:r>
            <a:rPr lang="nb-NO" sz="1200"/>
            <a:t>- Mulighet for </a:t>
          </a:r>
          <a:r>
            <a:rPr lang="nb-NO" sz="1200" err="1"/>
            <a:t>webinarer</a:t>
          </a:r>
          <a:r>
            <a:rPr lang="nb-NO" sz="1200"/>
            <a:t> for utvalgte tema</a:t>
          </a:r>
        </a:p>
      </dgm:t>
    </dgm:pt>
    <dgm:pt modelId="{EDA9A6F0-DCBB-4DA8-9FF3-1738EE242D9C}" type="parTrans" cxnId="{4E76275F-998F-4C50-813D-EBB38F6E743A}">
      <dgm:prSet/>
      <dgm:spPr/>
      <dgm:t>
        <a:bodyPr/>
        <a:lstStyle/>
        <a:p>
          <a:endParaRPr lang="nb-NO" sz="1200"/>
        </a:p>
      </dgm:t>
    </dgm:pt>
    <dgm:pt modelId="{F8BBE20C-11CE-4858-85E6-8D8C11B01E73}" type="sibTrans" cxnId="{4E76275F-998F-4C50-813D-EBB38F6E743A}">
      <dgm:prSet/>
      <dgm:spPr/>
      <dgm:t>
        <a:bodyPr/>
        <a:lstStyle/>
        <a:p>
          <a:endParaRPr lang="nb-NO" sz="1200"/>
        </a:p>
      </dgm:t>
    </dgm:pt>
    <dgm:pt modelId="{ACB6EBE2-8678-4135-983A-A50260ADE38B}">
      <dgm:prSet phldrT="[Text]" custT="1"/>
      <dgm:spPr>
        <a:solidFill>
          <a:schemeClr val="accent1">
            <a:lumMod val="90000"/>
          </a:schemeClr>
        </a:solidFill>
      </dgm:spPr>
      <dgm:t>
        <a:bodyPr/>
        <a:lstStyle/>
        <a:p>
          <a:endParaRPr lang="nb-NO" sz="1200"/>
        </a:p>
        <a:p>
          <a:endParaRPr lang="nb-NO" sz="1200"/>
        </a:p>
        <a:p>
          <a:r>
            <a:rPr lang="nb-NO" sz="1200" b="1"/>
            <a:t>NTNU Spesifikt</a:t>
          </a:r>
        </a:p>
        <a:p>
          <a:r>
            <a:rPr lang="nb-NO" sz="1200"/>
            <a:t>- NTNU Kurs før og etter DFØ systemopplæring</a:t>
          </a:r>
        </a:p>
        <a:p>
          <a:r>
            <a:rPr lang="nb-NO" sz="1200" b="0">
              <a:latin typeface="Arial" panose="020B0604020202020204"/>
            </a:rPr>
            <a:t>- Informasjonsmøter og </a:t>
          </a:r>
          <a:r>
            <a:rPr lang="nb-NO" sz="1200" b="0" err="1">
              <a:latin typeface="Arial" panose="020B0604020202020204"/>
            </a:rPr>
            <a:t>webinarer</a:t>
          </a:r>
          <a:r>
            <a:rPr lang="nb-NO" sz="1200" b="0">
              <a:latin typeface="Arial" panose="020B0604020202020204"/>
            </a:rPr>
            <a:t> om spesielle tema</a:t>
          </a:r>
        </a:p>
        <a:p>
          <a:endParaRPr lang="nb-NO" sz="1200" b="0">
            <a:latin typeface="Arial" panose="020B0604020202020204"/>
          </a:endParaRPr>
        </a:p>
        <a:p>
          <a:endParaRPr lang="nb-NO" sz="1200" b="0">
            <a:latin typeface="Arial" panose="020B0604020202020204"/>
          </a:endParaRPr>
        </a:p>
      </dgm:t>
    </dgm:pt>
    <dgm:pt modelId="{14E0E4D6-713C-4368-BBA4-48B82212E626}" type="parTrans" cxnId="{6ACC1866-D71F-4F59-ADA9-6F6E6720F719}">
      <dgm:prSet/>
      <dgm:spPr/>
      <dgm:t>
        <a:bodyPr/>
        <a:lstStyle/>
        <a:p>
          <a:endParaRPr lang="nb-NO" sz="1200"/>
        </a:p>
      </dgm:t>
    </dgm:pt>
    <dgm:pt modelId="{DBDD4AFB-E753-4B96-B280-EFD60741C05C}" type="sibTrans" cxnId="{6ACC1866-D71F-4F59-ADA9-6F6E6720F719}">
      <dgm:prSet/>
      <dgm:spPr/>
      <dgm:t>
        <a:bodyPr/>
        <a:lstStyle/>
        <a:p>
          <a:endParaRPr lang="nb-NO" sz="1200"/>
        </a:p>
      </dgm:t>
    </dgm:pt>
    <dgm:pt modelId="{6E13336A-1061-4597-829A-457963054662}">
      <dgm:prSet phldrT="[Text]" custT="1"/>
      <dgm:spPr>
        <a:solidFill>
          <a:schemeClr val="accent1">
            <a:lumMod val="90000"/>
          </a:schemeClr>
        </a:solidFill>
      </dgm:spPr>
      <dgm:t>
        <a:bodyPr/>
        <a:lstStyle/>
        <a:p>
          <a:pPr>
            <a:lnSpc>
              <a:spcPct val="90000"/>
            </a:lnSpc>
            <a:spcAft>
              <a:spcPct val="35000"/>
            </a:spcAft>
          </a:pPr>
          <a:r>
            <a:rPr lang="nb-NO" sz="1200" b="1"/>
            <a:t>DFØ Systemopplæring 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nb-NO" sz="1200" b="0"/>
            <a:t>- Webinarer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nb-NO" sz="1200" b="0"/>
            <a:t>- Trykkekurs for noen roller</a:t>
          </a:r>
        </a:p>
        <a:p>
          <a:pPr>
            <a:lnSpc>
              <a:spcPct val="90000"/>
            </a:lnSpc>
            <a:spcAft>
              <a:spcPct val="35000"/>
            </a:spcAft>
          </a:pPr>
          <a:endParaRPr lang="nb-NO" sz="1200"/>
        </a:p>
      </dgm:t>
    </dgm:pt>
    <dgm:pt modelId="{0F6F06C4-C879-4D38-A2F6-C248597D04B8}" type="parTrans" cxnId="{A0B73495-747A-4C3F-A337-3E262EE9F610}">
      <dgm:prSet/>
      <dgm:spPr/>
      <dgm:t>
        <a:bodyPr/>
        <a:lstStyle/>
        <a:p>
          <a:endParaRPr lang="nb-NO" sz="1200"/>
        </a:p>
      </dgm:t>
    </dgm:pt>
    <dgm:pt modelId="{C5353622-0F71-47C8-845F-B9F64907EAA9}" type="sibTrans" cxnId="{A0B73495-747A-4C3F-A337-3E262EE9F610}">
      <dgm:prSet/>
      <dgm:spPr/>
      <dgm:t>
        <a:bodyPr/>
        <a:lstStyle/>
        <a:p>
          <a:endParaRPr lang="nb-NO" sz="1200"/>
        </a:p>
      </dgm:t>
    </dgm:pt>
    <dgm:pt modelId="{6A239C10-29D5-4CE5-B783-1125FD68868F}">
      <dgm:prSet phldrT="[Text]" custT="1"/>
      <dgm:spPr>
        <a:solidFill>
          <a:schemeClr val="accent1">
            <a:lumMod val="90000"/>
          </a:schemeClr>
        </a:solidFill>
      </dgm:spPr>
      <dgm:t>
        <a:bodyPr/>
        <a:lstStyle/>
        <a:p>
          <a:pPr>
            <a:spcAft>
              <a:spcPct val="35000"/>
            </a:spcAft>
          </a:pPr>
          <a:r>
            <a:rPr lang="nb-NO" sz="1200" b="1"/>
            <a:t>Egenlæring</a:t>
          </a:r>
        </a:p>
        <a:p>
          <a:pPr>
            <a:spcAft>
              <a:spcPts val="0"/>
            </a:spcAft>
          </a:pPr>
          <a:r>
            <a:rPr lang="nb-NO" sz="1200"/>
            <a:t>- BOTT ØL e-læring</a:t>
          </a:r>
        </a:p>
        <a:p>
          <a:pPr>
            <a:spcAft>
              <a:spcPts val="0"/>
            </a:spcAft>
          </a:pPr>
          <a:r>
            <a:rPr lang="nb-NO" sz="1200"/>
            <a:t>- DFØ Systemvideoer</a:t>
          </a:r>
          <a:br>
            <a:rPr lang="nb-NO" sz="1200"/>
          </a:br>
          <a:r>
            <a:rPr lang="nb-NO" sz="1200"/>
            <a:t>- DFØ e-læring</a:t>
          </a:r>
          <a:br>
            <a:rPr lang="nb-NO" sz="1200"/>
          </a:br>
          <a:r>
            <a:rPr lang="nb-NO" sz="1200"/>
            <a:t>- NTNU videokurs</a:t>
          </a:r>
        </a:p>
      </dgm:t>
    </dgm:pt>
    <dgm:pt modelId="{849EF6D6-C63A-4E4B-B8BF-05070F945AEF}" type="parTrans" cxnId="{D2D1D463-5007-4DDC-8F36-4C982BCFB9C3}">
      <dgm:prSet/>
      <dgm:spPr/>
      <dgm:t>
        <a:bodyPr/>
        <a:lstStyle/>
        <a:p>
          <a:endParaRPr lang="nb-NO" sz="1200"/>
        </a:p>
      </dgm:t>
    </dgm:pt>
    <dgm:pt modelId="{5B4C81A0-08F9-402C-AC69-2CFDF13AF752}" type="sibTrans" cxnId="{D2D1D463-5007-4DDC-8F36-4C982BCFB9C3}">
      <dgm:prSet/>
      <dgm:spPr/>
      <dgm:t>
        <a:bodyPr/>
        <a:lstStyle/>
        <a:p>
          <a:endParaRPr lang="nb-NO" sz="1200"/>
        </a:p>
      </dgm:t>
    </dgm:pt>
    <dgm:pt modelId="{18C14600-A4AE-4ED2-BBC8-91E08359B20F}" type="pres">
      <dgm:prSet presAssocID="{F6899751-E627-443E-86C2-E1F8E53D4523}" presName="diagram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616AB38C-CFDC-4DB6-B676-4DAF679346F9}" type="pres">
      <dgm:prSet presAssocID="{F6899751-E627-443E-86C2-E1F8E53D4523}" presName="matrix" presStyleCnt="0"/>
      <dgm:spPr/>
    </dgm:pt>
    <dgm:pt modelId="{59AE269F-53FC-4308-A828-F361FB26BBFE}" type="pres">
      <dgm:prSet presAssocID="{F6899751-E627-443E-86C2-E1F8E53D4523}" presName="tile1" presStyleLbl="node1" presStyleIdx="0" presStyleCnt="4"/>
      <dgm:spPr/>
    </dgm:pt>
    <dgm:pt modelId="{5E81395F-1121-45A0-BC8B-7C1D973BE623}" type="pres">
      <dgm:prSet presAssocID="{F6899751-E627-443E-86C2-E1F8E53D4523}" presName="tile1text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C641786F-1105-4E7D-B43F-59DDA91D0A9C}" type="pres">
      <dgm:prSet presAssocID="{F6899751-E627-443E-86C2-E1F8E53D4523}" presName="tile2" presStyleLbl="node1" presStyleIdx="1" presStyleCnt="4" custLinFactNeighborX="-446" custLinFactNeighborY="-26733"/>
      <dgm:spPr/>
    </dgm:pt>
    <dgm:pt modelId="{17729412-17DD-495B-9324-66D116D07F43}" type="pres">
      <dgm:prSet presAssocID="{F6899751-E627-443E-86C2-E1F8E53D4523}" presName="tile2text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B552DEAA-B732-4475-A930-7DF6F868DE27}" type="pres">
      <dgm:prSet presAssocID="{F6899751-E627-443E-86C2-E1F8E53D4523}" presName="tile3" presStyleLbl="node1" presStyleIdx="2" presStyleCnt="4" custLinFactNeighborX="-1656" custLinFactNeighborY="-414"/>
      <dgm:spPr/>
    </dgm:pt>
    <dgm:pt modelId="{BC0ABCDE-F2CB-4E53-8646-385B81A90F34}" type="pres">
      <dgm:prSet presAssocID="{F6899751-E627-443E-86C2-E1F8E53D4523}" presName="tile3text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733116BF-33AC-40D9-ABAB-F1408D18153E}" type="pres">
      <dgm:prSet presAssocID="{F6899751-E627-443E-86C2-E1F8E53D4523}" presName="tile4" presStyleLbl="node1" presStyleIdx="3" presStyleCnt="4"/>
      <dgm:spPr/>
    </dgm:pt>
    <dgm:pt modelId="{B29EB35F-0CC2-429B-A8D3-3984220EE9D3}" type="pres">
      <dgm:prSet presAssocID="{F6899751-E627-443E-86C2-E1F8E53D4523}" presName="tile4text" presStyleLbl="node1" presStyleIdx="3" presStyleCnt="4">
        <dgm:presLayoutVars>
          <dgm:chMax val="0"/>
          <dgm:chPref val="0"/>
          <dgm:bulletEnabled val="1"/>
        </dgm:presLayoutVars>
      </dgm:prSet>
      <dgm:spPr/>
    </dgm:pt>
    <dgm:pt modelId="{81375138-22FA-4DF7-935E-8921C252465F}" type="pres">
      <dgm:prSet presAssocID="{F6899751-E627-443E-86C2-E1F8E53D4523}" presName="centerTile" presStyleLbl="fgShp" presStyleIdx="0" presStyleCnt="1">
        <dgm:presLayoutVars>
          <dgm:chMax val="0"/>
          <dgm:chPref val="0"/>
        </dgm:presLayoutVars>
      </dgm:prSet>
      <dgm:spPr/>
    </dgm:pt>
  </dgm:ptLst>
  <dgm:cxnLst>
    <dgm:cxn modelId="{B884D408-3C55-4250-B759-64DA334E0359}" type="presOf" srcId="{C9EFFB27-0EB2-416B-AC91-600A41FCF8BE}" destId="{81375138-22FA-4DF7-935E-8921C252465F}" srcOrd="0" destOrd="0" presId="urn:microsoft.com/office/officeart/2005/8/layout/matrix1"/>
    <dgm:cxn modelId="{6BD1DC0C-22D7-467D-B119-C57331DF7FA8}" type="presOf" srcId="{6A239C10-29D5-4CE5-B783-1125FD68868F}" destId="{733116BF-33AC-40D9-ABAB-F1408D18153E}" srcOrd="0" destOrd="0" presId="urn:microsoft.com/office/officeart/2005/8/layout/matrix1"/>
    <dgm:cxn modelId="{94799E12-8515-4421-AA37-9D018CE6BDA1}" type="presOf" srcId="{F6899751-E627-443E-86C2-E1F8E53D4523}" destId="{18C14600-A4AE-4ED2-BBC8-91E08359B20F}" srcOrd="0" destOrd="0" presId="urn:microsoft.com/office/officeart/2005/8/layout/matrix1"/>
    <dgm:cxn modelId="{A78CC640-3497-4D15-8FDC-B5450E179A7C}" type="presOf" srcId="{ACB6EBE2-8678-4135-983A-A50260ADE38B}" destId="{C641786F-1105-4E7D-B43F-59DDA91D0A9C}" srcOrd="0" destOrd="0" presId="urn:microsoft.com/office/officeart/2005/8/layout/matrix1"/>
    <dgm:cxn modelId="{4E76275F-998F-4C50-813D-EBB38F6E743A}" srcId="{C9EFFB27-0EB2-416B-AC91-600A41FCF8BE}" destId="{A0E0BC68-5B44-44FC-9DDD-9A5AFD158759}" srcOrd="0" destOrd="0" parTransId="{EDA9A6F0-DCBB-4DA8-9FF3-1738EE242D9C}" sibTransId="{F8BBE20C-11CE-4858-85E6-8D8C11B01E73}"/>
    <dgm:cxn modelId="{D2D1D463-5007-4DDC-8F36-4C982BCFB9C3}" srcId="{C9EFFB27-0EB2-416B-AC91-600A41FCF8BE}" destId="{6A239C10-29D5-4CE5-B783-1125FD68868F}" srcOrd="3" destOrd="0" parTransId="{849EF6D6-C63A-4E4B-B8BF-05070F945AEF}" sibTransId="{5B4C81A0-08F9-402C-AC69-2CFDF13AF752}"/>
    <dgm:cxn modelId="{6ACC1866-D71F-4F59-ADA9-6F6E6720F719}" srcId="{C9EFFB27-0EB2-416B-AC91-600A41FCF8BE}" destId="{ACB6EBE2-8678-4135-983A-A50260ADE38B}" srcOrd="1" destOrd="0" parTransId="{14E0E4D6-713C-4368-BBA4-48B82212E626}" sibTransId="{DBDD4AFB-E753-4B96-B280-EFD60741C05C}"/>
    <dgm:cxn modelId="{D2032A6B-0BB6-4DA8-9D47-089D06243E48}" type="presOf" srcId="{6E13336A-1061-4597-829A-457963054662}" destId="{B552DEAA-B732-4475-A930-7DF6F868DE27}" srcOrd="0" destOrd="0" presId="urn:microsoft.com/office/officeart/2005/8/layout/matrix1"/>
    <dgm:cxn modelId="{5EB6997E-2515-4492-9ED9-DD997A465287}" srcId="{F6899751-E627-443E-86C2-E1F8E53D4523}" destId="{C9EFFB27-0EB2-416B-AC91-600A41FCF8BE}" srcOrd="0" destOrd="0" parTransId="{DDC05AC6-6FDE-45D5-B6D0-91F63CFA3D0B}" sibTransId="{7D514737-E564-49EC-B82C-C49065456AFE}"/>
    <dgm:cxn modelId="{A0B73495-747A-4C3F-A337-3E262EE9F610}" srcId="{C9EFFB27-0EB2-416B-AC91-600A41FCF8BE}" destId="{6E13336A-1061-4597-829A-457963054662}" srcOrd="2" destOrd="0" parTransId="{0F6F06C4-C879-4D38-A2F6-C248597D04B8}" sibTransId="{C5353622-0F71-47C8-845F-B9F64907EAA9}"/>
    <dgm:cxn modelId="{FC0A52B2-EE2D-4397-9E82-A492AB2B3528}" type="presOf" srcId="{A0E0BC68-5B44-44FC-9DDD-9A5AFD158759}" destId="{59AE269F-53FC-4308-A828-F361FB26BBFE}" srcOrd="0" destOrd="0" presId="urn:microsoft.com/office/officeart/2005/8/layout/matrix1"/>
    <dgm:cxn modelId="{15DCA0C9-4251-48EA-AEC7-A5B21208CC30}" type="presOf" srcId="{6A239C10-29D5-4CE5-B783-1125FD68868F}" destId="{B29EB35F-0CC2-429B-A8D3-3984220EE9D3}" srcOrd="1" destOrd="0" presId="urn:microsoft.com/office/officeart/2005/8/layout/matrix1"/>
    <dgm:cxn modelId="{94E730DA-FB50-4708-9F1D-D963070A7A31}" type="presOf" srcId="{6E13336A-1061-4597-829A-457963054662}" destId="{BC0ABCDE-F2CB-4E53-8646-385B81A90F34}" srcOrd="1" destOrd="0" presId="urn:microsoft.com/office/officeart/2005/8/layout/matrix1"/>
    <dgm:cxn modelId="{EE2391E0-0D47-4F7F-A7E9-1669DD21C3D6}" type="presOf" srcId="{A0E0BC68-5B44-44FC-9DDD-9A5AFD158759}" destId="{5E81395F-1121-45A0-BC8B-7C1D973BE623}" srcOrd="1" destOrd="0" presId="urn:microsoft.com/office/officeart/2005/8/layout/matrix1"/>
    <dgm:cxn modelId="{6E17CCE1-40D5-4EF4-87E2-10746512F8D8}" type="presOf" srcId="{ACB6EBE2-8678-4135-983A-A50260ADE38B}" destId="{17729412-17DD-495B-9324-66D116D07F43}" srcOrd="1" destOrd="0" presId="urn:microsoft.com/office/officeart/2005/8/layout/matrix1"/>
    <dgm:cxn modelId="{245845D6-CC7C-40FD-A7C6-AD34D3E91428}" type="presParOf" srcId="{18C14600-A4AE-4ED2-BBC8-91E08359B20F}" destId="{616AB38C-CFDC-4DB6-B676-4DAF679346F9}" srcOrd="0" destOrd="0" presId="urn:microsoft.com/office/officeart/2005/8/layout/matrix1"/>
    <dgm:cxn modelId="{80116A87-1209-4181-893F-9EAC53131393}" type="presParOf" srcId="{616AB38C-CFDC-4DB6-B676-4DAF679346F9}" destId="{59AE269F-53FC-4308-A828-F361FB26BBFE}" srcOrd="0" destOrd="0" presId="urn:microsoft.com/office/officeart/2005/8/layout/matrix1"/>
    <dgm:cxn modelId="{31F437C1-68DE-4FEC-AA8E-F723D9E60B0D}" type="presParOf" srcId="{616AB38C-CFDC-4DB6-B676-4DAF679346F9}" destId="{5E81395F-1121-45A0-BC8B-7C1D973BE623}" srcOrd="1" destOrd="0" presId="urn:microsoft.com/office/officeart/2005/8/layout/matrix1"/>
    <dgm:cxn modelId="{A869D1D5-8966-4DD0-84A3-314EB05462F3}" type="presParOf" srcId="{616AB38C-CFDC-4DB6-B676-4DAF679346F9}" destId="{C641786F-1105-4E7D-B43F-59DDA91D0A9C}" srcOrd="2" destOrd="0" presId="urn:microsoft.com/office/officeart/2005/8/layout/matrix1"/>
    <dgm:cxn modelId="{D24040CC-799E-4208-9E7A-D7576AAC1D1B}" type="presParOf" srcId="{616AB38C-CFDC-4DB6-B676-4DAF679346F9}" destId="{17729412-17DD-495B-9324-66D116D07F43}" srcOrd="3" destOrd="0" presId="urn:microsoft.com/office/officeart/2005/8/layout/matrix1"/>
    <dgm:cxn modelId="{C82ACA8A-BD41-43BB-B027-E15550AC70BB}" type="presParOf" srcId="{616AB38C-CFDC-4DB6-B676-4DAF679346F9}" destId="{B552DEAA-B732-4475-A930-7DF6F868DE27}" srcOrd="4" destOrd="0" presId="urn:microsoft.com/office/officeart/2005/8/layout/matrix1"/>
    <dgm:cxn modelId="{5828148D-2D41-4755-ADBB-104315127780}" type="presParOf" srcId="{616AB38C-CFDC-4DB6-B676-4DAF679346F9}" destId="{BC0ABCDE-F2CB-4E53-8646-385B81A90F34}" srcOrd="5" destOrd="0" presId="urn:microsoft.com/office/officeart/2005/8/layout/matrix1"/>
    <dgm:cxn modelId="{59D10E7A-A302-4477-B1F3-280DC13F24C5}" type="presParOf" srcId="{616AB38C-CFDC-4DB6-B676-4DAF679346F9}" destId="{733116BF-33AC-40D9-ABAB-F1408D18153E}" srcOrd="6" destOrd="0" presId="urn:microsoft.com/office/officeart/2005/8/layout/matrix1"/>
    <dgm:cxn modelId="{5E8F580E-415A-444F-A00E-8D7E4230AC6E}" type="presParOf" srcId="{616AB38C-CFDC-4DB6-B676-4DAF679346F9}" destId="{B29EB35F-0CC2-429B-A8D3-3984220EE9D3}" srcOrd="7" destOrd="0" presId="urn:microsoft.com/office/officeart/2005/8/layout/matrix1"/>
    <dgm:cxn modelId="{C0B748F6-3F1C-45FE-83CF-0C8141043241}" type="presParOf" srcId="{18C14600-A4AE-4ED2-BBC8-91E08359B20F}" destId="{81375138-22FA-4DF7-935E-8921C252465F}" srcOrd="1" destOrd="0" presId="urn:microsoft.com/office/officeart/2005/8/layout/matrix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4510DCF-F6C7-4F55-BB5C-90DAF0DE14B1}" type="doc">
      <dgm:prSet loTypeId="urn:microsoft.com/office/officeart/2005/8/layout/hProcess9" loCatId="process" qsTypeId="urn:microsoft.com/office/officeart/2005/8/quickstyle/simple1" qsCatId="simple" csTypeId="urn:microsoft.com/office/officeart/2005/8/colors/accent1_2" csCatId="accent1" phldr="1"/>
      <dgm:spPr/>
    </dgm:pt>
    <dgm:pt modelId="{019DCE1C-6D6F-4FFE-91DD-81AADD7AFBAD}">
      <dgm:prSet phldrT="[Text]" custT="1"/>
      <dgm:spPr/>
      <dgm:t>
        <a:bodyPr/>
        <a:lstStyle/>
        <a:p>
          <a:r>
            <a:rPr lang="nb-NO" sz="1000" b="1"/>
            <a:t>NTNU </a:t>
          </a:r>
        </a:p>
        <a:p>
          <a:r>
            <a:rPr lang="nb-NO" sz="1000" b="1"/>
            <a:t>Kurs 1</a:t>
          </a:r>
        </a:p>
        <a:p>
          <a:r>
            <a:rPr lang="nb-NO" sz="900" b="0"/>
            <a:t>Introduksjon til opplæring </a:t>
          </a:r>
          <a:r>
            <a:rPr lang="nb-NO" sz="900"/>
            <a:t>og egenlæring for rolle og prosess</a:t>
          </a:r>
        </a:p>
      </dgm:t>
    </dgm:pt>
    <dgm:pt modelId="{D4EF899C-C643-404C-B1D5-54EEF1D5643E}" type="parTrans" cxnId="{EF360807-9D82-4204-BAFE-4A1E88F87784}">
      <dgm:prSet/>
      <dgm:spPr/>
      <dgm:t>
        <a:bodyPr/>
        <a:lstStyle/>
        <a:p>
          <a:endParaRPr lang="nb-NO" sz="1000"/>
        </a:p>
      </dgm:t>
    </dgm:pt>
    <dgm:pt modelId="{877FE54A-EDFC-46A5-9170-6F4DD04C5FC7}" type="sibTrans" cxnId="{EF360807-9D82-4204-BAFE-4A1E88F87784}">
      <dgm:prSet/>
      <dgm:spPr/>
      <dgm:t>
        <a:bodyPr/>
        <a:lstStyle/>
        <a:p>
          <a:endParaRPr lang="nb-NO" sz="1000"/>
        </a:p>
      </dgm:t>
    </dgm:pt>
    <dgm:pt modelId="{92E89340-0D76-47FB-AFFB-3CC9E14D5D7C}">
      <dgm:prSet phldrT="[Text]" custT="1"/>
      <dgm:spPr/>
      <dgm:t>
        <a:bodyPr/>
        <a:lstStyle/>
        <a:p>
          <a:r>
            <a:rPr lang="nb-NO" sz="1000" b="1"/>
            <a:t>NTNU </a:t>
          </a:r>
        </a:p>
        <a:p>
          <a:r>
            <a:rPr lang="nb-NO" sz="1000" b="1"/>
            <a:t>Kurs 2</a:t>
          </a:r>
        </a:p>
        <a:p>
          <a:r>
            <a:rPr lang="nb-NO" sz="800"/>
            <a:t>Refleksjon, spørsmål fra egenlæring, økonomi-modell for rolle, nye rutiner og prosesser forberedelse til systemkurs</a:t>
          </a:r>
        </a:p>
      </dgm:t>
    </dgm:pt>
    <dgm:pt modelId="{F875E23E-7E0C-437B-A834-28B269E7BD4E}" type="parTrans" cxnId="{49720E9C-3284-41FE-9B55-8EFA6A5A5E68}">
      <dgm:prSet/>
      <dgm:spPr/>
      <dgm:t>
        <a:bodyPr/>
        <a:lstStyle/>
        <a:p>
          <a:endParaRPr lang="nb-NO" sz="1000"/>
        </a:p>
      </dgm:t>
    </dgm:pt>
    <dgm:pt modelId="{5D2AB3AB-ACDC-4BA1-B152-C4ACEADAB04F}" type="sibTrans" cxnId="{49720E9C-3284-41FE-9B55-8EFA6A5A5E68}">
      <dgm:prSet/>
      <dgm:spPr/>
      <dgm:t>
        <a:bodyPr/>
        <a:lstStyle/>
        <a:p>
          <a:endParaRPr lang="nb-NO" sz="1000"/>
        </a:p>
      </dgm:t>
    </dgm:pt>
    <dgm:pt modelId="{7DA3CFE7-7D89-4913-BC3F-2CA3C079F89B}">
      <dgm:prSet phldrT="[Text]" custT="1"/>
      <dgm:spPr/>
      <dgm:t>
        <a:bodyPr/>
        <a:lstStyle/>
        <a:p>
          <a:r>
            <a:rPr lang="nb-NO" sz="1000" b="1"/>
            <a:t>DFØ Systemkurs </a:t>
          </a:r>
          <a:r>
            <a:rPr lang="nb-NO" sz="1000" b="0"/>
            <a:t>for </a:t>
          </a:r>
          <a:r>
            <a:rPr lang="nb-NO" sz="900" b="0"/>
            <a:t>INNKJØPERE</a:t>
          </a:r>
        </a:p>
        <a:p>
          <a:r>
            <a:rPr lang="nb-NO" sz="1000" b="0"/>
            <a:t>Del 1</a:t>
          </a:r>
        </a:p>
      </dgm:t>
    </dgm:pt>
    <dgm:pt modelId="{72C5A94F-9B0B-4158-A235-5400083F509A}" type="parTrans" cxnId="{A6A97208-54C0-40A1-8650-9F20C646B0B8}">
      <dgm:prSet/>
      <dgm:spPr/>
      <dgm:t>
        <a:bodyPr/>
        <a:lstStyle/>
        <a:p>
          <a:endParaRPr lang="nb-NO" sz="1000"/>
        </a:p>
      </dgm:t>
    </dgm:pt>
    <dgm:pt modelId="{E507EA99-562E-4706-B34B-8AD4B1E89C3A}" type="sibTrans" cxnId="{A6A97208-54C0-40A1-8650-9F20C646B0B8}">
      <dgm:prSet/>
      <dgm:spPr/>
      <dgm:t>
        <a:bodyPr/>
        <a:lstStyle/>
        <a:p>
          <a:endParaRPr lang="nb-NO" sz="1000"/>
        </a:p>
      </dgm:t>
    </dgm:pt>
    <dgm:pt modelId="{4DE5FC12-B9CD-4A02-BDE0-39B691768F20}">
      <dgm:prSet phldrT="[Text]" custT="1"/>
      <dgm:spPr/>
      <dgm:t>
        <a:bodyPr/>
        <a:lstStyle/>
        <a:p>
          <a:r>
            <a:rPr lang="nb-NO" sz="1000" b="1"/>
            <a:t>Egenlæring</a:t>
          </a:r>
        </a:p>
        <a:p>
          <a:r>
            <a:rPr lang="nb-NO" sz="1000"/>
            <a:t>Repetisjon / oppslag etter opplæring og ved oppstart</a:t>
          </a:r>
        </a:p>
      </dgm:t>
    </dgm:pt>
    <dgm:pt modelId="{9D817DC7-AAB1-4058-B8C8-E3D459ED4A18}" type="parTrans" cxnId="{6508A972-8F63-4362-B5E0-51EF2FB243CC}">
      <dgm:prSet/>
      <dgm:spPr/>
      <dgm:t>
        <a:bodyPr/>
        <a:lstStyle/>
        <a:p>
          <a:endParaRPr lang="nb-NO" sz="1000"/>
        </a:p>
      </dgm:t>
    </dgm:pt>
    <dgm:pt modelId="{4017AB02-F3AF-439D-BB6B-5BE31340E0A5}" type="sibTrans" cxnId="{6508A972-8F63-4362-B5E0-51EF2FB243CC}">
      <dgm:prSet/>
      <dgm:spPr/>
      <dgm:t>
        <a:bodyPr/>
        <a:lstStyle/>
        <a:p>
          <a:endParaRPr lang="nb-NO" sz="1000"/>
        </a:p>
      </dgm:t>
    </dgm:pt>
    <dgm:pt modelId="{91F15A80-5AC6-4574-8AD5-30D6516C9E2F}">
      <dgm:prSet phldrT="[Text]" custT="1"/>
      <dgm:spPr/>
      <dgm:t>
        <a:bodyPr/>
        <a:lstStyle/>
        <a:p>
          <a:r>
            <a:rPr lang="nb-NO" sz="1000" b="1"/>
            <a:t>Egenlæring</a:t>
          </a:r>
        </a:p>
        <a:p>
          <a:r>
            <a:rPr lang="nb-NO" sz="900"/>
            <a:t>E-læring for rolle og prosess</a:t>
          </a:r>
        </a:p>
        <a:p>
          <a:r>
            <a:rPr lang="nb-NO" sz="900"/>
            <a:t>Økonomi-modell – videokurs</a:t>
          </a:r>
        </a:p>
        <a:p>
          <a:r>
            <a:rPr lang="nb-NO" sz="900"/>
            <a:t>Lokal oppfølging</a:t>
          </a:r>
        </a:p>
      </dgm:t>
    </dgm:pt>
    <dgm:pt modelId="{F838931F-A534-4025-A61E-3AD886558946}" type="parTrans" cxnId="{8CB4C099-A7BC-4416-A59F-B96370F971D8}">
      <dgm:prSet/>
      <dgm:spPr/>
      <dgm:t>
        <a:bodyPr/>
        <a:lstStyle/>
        <a:p>
          <a:endParaRPr lang="nb-NO" sz="1000"/>
        </a:p>
      </dgm:t>
    </dgm:pt>
    <dgm:pt modelId="{CD8E1CE9-C192-4286-B36A-0804F55D2603}" type="sibTrans" cxnId="{8CB4C099-A7BC-4416-A59F-B96370F971D8}">
      <dgm:prSet/>
      <dgm:spPr/>
      <dgm:t>
        <a:bodyPr/>
        <a:lstStyle/>
        <a:p>
          <a:endParaRPr lang="nb-NO" sz="1000"/>
        </a:p>
      </dgm:t>
    </dgm:pt>
    <dgm:pt modelId="{8C30EEEE-0037-4F23-960A-F3B8C2B0271A}">
      <dgm:prSet phldrT="[Text]" custT="1"/>
      <dgm:spPr/>
      <dgm:t>
        <a:bodyPr/>
        <a:lstStyle/>
        <a:p>
          <a:r>
            <a:rPr lang="nb-NO" sz="1000" b="0"/>
            <a:t>Bruker-støtte</a:t>
          </a:r>
        </a:p>
        <a:p>
          <a:r>
            <a:rPr lang="nb-NO" sz="1000"/>
            <a:t>Innsida</a:t>
          </a:r>
        </a:p>
        <a:p>
          <a:r>
            <a:rPr lang="nb-NO" sz="1000"/>
            <a:t>NTNU Hjelp</a:t>
          </a:r>
          <a:r>
            <a:rPr lang="nb-NO" sz="1000" b="1"/>
            <a:t> </a:t>
          </a:r>
          <a:endParaRPr lang="nb-NO" sz="1000"/>
        </a:p>
      </dgm:t>
    </dgm:pt>
    <dgm:pt modelId="{2ECB347E-C9E3-47E1-9989-C50F39149050}" type="parTrans" cxnId="{C2D57AAF-F314-4A91-89F3-69BA988A0677}">
      <dgm:prSet/>
      <dgm:spPr/>
      <dgm:t>
        <a:bodyPr/>
        <a:lstStyle/>
        <a:p>
          <a:endParaRPr lang="nb-NO" sz="1000"/>
        </a:p>
      </dgm:t>
    </dgm:pt>
    <dgm:pt modelId="{98BCD1D1-EAF3-425C-B6F6-E04AA99EC169}" type="sibTrans" cxnId="{C2D57AAF-F314-4A91-89F3-69BA988A0677}">
      <dgm:prSet/>
      <dgm:spPr/>
      <dgm:t>
        <a:bodyPr/>
        <a:lstStyle/>
        <a:p>
          <a:endParaRPr lang="nb-NO" sz="1000"/>
        </a:p>
      </dgm:t>
    </dgm:pt>
    <dgm:pt modelId="{2B824F8D-0F4A-482D-AD39-400F2CA8ECB5}">
      <dgm:prSet phldrT="[Text]" custT="1"/>
      <dgm:spPr/>
      <dgm:t>
        <a:bodyPr/>
        <a:lstStyle/>
        <a:p>
          <a:pPr algn="ctr"/>
          <a:r>
            <a:rPr lang="nb-NO" sz="1000" b="1"/>
            <a:t>NTNU </a:t>
          </a:r>
        </a:p>
        <a:p>
          <a:pPr algn="ctr"/>
          <a:r>
            <a:rPr lang="nb-NO" sz="1000" b="1"/>
            <a:t>kurs 3</a:t>
          </a:r>
        </a:p>
        <a:p>
          <a:pPr algn="l"/>
          <a:endParaRPr lang="nb-NO" sz="1000" b="0"/>
        </a:p>
        <a:p>
          <a:pPr algn="ctr"/>
          <a:r>
            <a:rPr lang="nb-NO" sz="1000" b="0"/>
            <a:t>Refleksjon/ spørsmål etter DFØ System-opplæring </a:t>
          </a:r>
        </a:p>
      </dgm:t>
    </dgm:pt>
    <dgm:pt modelId="{8A6F6102-DE15-4309-9B75-14FA68B3CB6A}" type="parTrans" cxnId="{58A15184-ECEA-4F5F-8407-8F253FAD094D}">
      <dgm:prSet/>
      <dgm:spPr/>
      <dgm:t>
        <a:bodyPr/>
        <a:lstStyle/>
        <a:p>
          <a:endParaRPr lang="nb-NO"/>
        </a:p>
      </dgm:t>
    </dgm:pt>
    <dgm:pt modelId="{CECD5D49-6715-44F0-A859-68373F625845}" type="sibTrans" cxnId="{58A15184-ECEA-4F5F-8407-8F253FAD094D}">
      <dgm:prSet/>
      <dgm:spPr/>
      <dgm:t>
        <a:bodyPr/>
        <a:lstStyle/>
        <a:p>
          <a:endParaRPr lang="nb-NO"/>
        </a:p>
      </dgm:t>
    </dgm:pt>
    <dgm:pt modelId="{2251F105-5557-44AE-89D0-371934ABC882}">
      <dgm:prSet phldrT="[Text]" custT="1"/>
      <dgm:spPr/>
      <dgm:t>
        <a:bodyPr/>
        <a:lstStyle/>
        <a:p>
          <a:r>
            <a:rPr lang="nb-NO" sz="1000"/>
            <a:t>DFØ systemkurs</a:t>
          </a:r>
        </a:p>
        <a:p>
          <a:r>
            <a:rPr lang="nb-NO" sz="1000"/>
            <a:t>for </a:t>
          </a:r>
          <a:r>
            <a:rPr lang="nb-NO" sz="900"/>
            <a:t>INNKJØPERE</a:t>
          </a:r>
          <a:endParaRPr lang="nb-NO" sz="1000"/>
        </a:p>
        <a:p>
          <a:r>
            <a:rPr lang="nb-NO" sz="1000" b="1"/>
            <a:t>Del 2 </a:t>
          </a:r>
        </a:p>
      </dgm:t>
    </dgm:pt>
    <dgm:pt modelId="{A4453E89-F930-4D78-B38A-C46960D6F42A}" type="parTrans" cxnId="{67909F85-D277-4032-88F0-DF443D5DB024}">
      <dgm:prSet/>
      <dgm:spPr/>
      <dgm:t>
        <a:bodyPr/>
        <a:lstStyle/>
        <a:p>
          <a:endParaRPr lang="nb-NO"/>
        </a:p>
      </dgm:t>
    </dgm:pt>
    <dgm:pt modelId="{2B5E8A19-0B99-4B51-943F-DF33CEFD7492}" type="sibTrans" cxnId="{67909F85-D277-4032-88F0-DF443D5DB024}">
      <dgm:prSet/>
      <dgm:spPr/>
      <dgm:t>
        <a:bodyPr/>
        <a:lstStyle/>
        <a:p>
          <a:endParaRPr lang="nb-NO"/>
        </a:p>
      </dgm:t>
    </dgm:pt>
    <dgm:pt modelId="{EB2B9690-5C09-4F4C-9B90-6DD703578653}" type="pres">
      <dgm:prSet presAssocID="{D4510DCF-F6C7-4F55-BB5C-90DAF0DE14B1}" presName="CompostProcess" presStyleCnt="0">
        <dgm:presLayoutVars>
          <dgm:dir/>
          <dgm:resizeHandles val="exact"/>
        </dgm:presLayoutVars>
      </dgm:prSet>
      <dgm:spPr/>
    </dgm:pt>
    <dgm:pt modelId="{26AE0105-133E-4FF4-8816-8B4F92E66E75}" type="pres">
      <dgm:prSet presAssocID="{D4510DCF-F6C7-4F55-BB5C-90DAF0DE14B1}" presName="arrow" presStyleLbl="bgShp" presStyleIdx="0" presStyleCnt="1" custScaleX="117647" custLinFactNeighborX="87629" custLinFactNeighborY="-18148"/>
      <dgm:spPr/>
    </dgm:pt>
    <dgm:pt modelId="{9D6D4CED-C3A2-46AF-B90D-B5F7A9C8DC25}" type="pres">
      <dgm:prSet presAssocID="{D4510DCF-F6C7-4F55-BB5C-90DAF0DE14B1}" presName="linearProcess" presStyleCnt="0"/>
      <dgm:spPr/>
    </dgm:pt>
    <dgm:pt modelId="{8A073C8C-7751-4CB9-A524-00CE45ACE0B6}" type="pres">
      <dgm:prSet presAssocID="{019DCE1C-6D6F-4FFE-91DD-81AADD7AFBAD}" presName="textNode" presStyleLbl="node1" presStyleIdx="0" presStyleCnt="8" custScaleX="113252" custLinFactNeighborX="31510">
        <dgm:presLayoutVars>
          <dgm:bulletEnabled val="1"/>
        </dgm:presLayoutVars>
      </dgm:prSet>
      <dgm:spPr/>
    </dgm:pt>
    <dgm:pt modelId="{7F614FA5-81E8-4590-B8C8-9F80AA04ED7F}" type="pres">
      <dgm:prSet presAssocID="{877FE54A-EDFC-46A5-9170-6F4DD04C5FC7}" presName="sibTrans" presStyleCnt="0"/>
      <dgm:spPr/>
    </dgm:pt>
    <dgm:pt modelId="{6DCCF6FC-0881-4755-8B41-48B9DE698B30}" type="pres">
      <dgm:prSet presAssocID="{91F15A80-5AC6-4574-8AD5-30D6516C9E2F}" presName="textNode" presStyleLbl="node1" presStyleIdx="1" presStyleCnt="8" custScaleX="118437">
        <dgm:presLayoutVars>
          <dgm:bulletEnabled val="1"/>
        </dgm:presLayoutVars>
      </dgm:prSet>
      <dgm:spPr/>
    </dgm:pt>
    <dgm:pt modelId="{85D7877B-9A68-44EE-BEDB-2C3587001E54}" type="pres">
      <dgm:prSet presAssocID="{CD8E1CE9-C192-4286-B36A-0804F55D2603}" presName="sibTrans" presStyleCnt="0"/>
      <dgm:spPr/>
    </dgm:pt>
    <dgm:pt modelId="{2CBB4BEF-1A89-49D3-9B59-B25A5049F2EB}" type="pres">
      <dgm:prSet presAssocID="{92E89340-0D76-47FB-AFFB-3CC9E14D5D7C}" presName="textNode" presStyleLbl="node1" presStyleIdx="2" presStyleCnt="8" custScaleX="115308">
        <dgm:presLayoutVars>
          <dgm:bulletEnabled val="1"/>
        </dgm:presLayoutVars>
      </dgm:prSet>
      <dgm:spPr/>
    </dgm:pt>
    <dgm:pt modelId="{42CAEE9A-7FFB-4C42-B1ED-16A2059EA047}" type="pres">
      <dgm:prSet presAssocID="{5D2AB3AB-ACDC-4BA1-B152-C4ACEADAB04F}" presName="sibTrans" presStyleCnt="0"/>
      <dgm:spPr/>
    </dgm:pt>
    <dgm:pt modelId="{80FF13B9-9E37-40F6-9F8E-2F3C6B915A0F}" type="pres">
      <dgm:prSet presAssocID="{7DA3CFE7-7D89-4913-BC3F-2CA3C079F89B}" presName="textNode" presStyleLbl="node1" presStyleIdx="3" presStyleCnt="8" custScaleX="119750">
        <dgm:presLayoutVars>
          <dgm:bulletEnabled val="1"/>
        </dgm:presLayoutVars>
      </dgm:prSet>
      <dgm:spPr/>
    </dgm:pt>
    <dgm:pt modelId="{8DEA0620-39AA-49D8-A548-D1B5BD5E626E}" type="pres">
      <dgm:prSet presAssocID="{E507EA99-562E-4706-B34B-8AD4B1E89C3A}" presName="sibTrans" presStyleCnt="0"/>
      <dgm:spPr/>
    </dgm:pt>
    <dgm:pt modelId="{62201053-D849-4FCD-B993-571EBFA5243E}" type="pres">
      <dgm:prSet presAssocID="{4DE5FC12-B9CD-4A02-BDE0-39B691768F20}" presName="textNode" presStyleLbl="node1" presStyleIdx="4" presStyleCnt="8" custScaleX="124360">
        <dgm:presLayoutVars>
          <dgm:bulletEnabled val="1"/>
        </dgm:presLayoutVars>
      </dgm:prSet>
      <dgm:spPr/>
    </dgm:pt>
    <dgm:pt modelId="{578FC630-A1E1-479C-99C2-977F66AFC56D}" type="pres">
      <dgm:prSet presAssocID="{4017AB02-F3AF-439D-BB6B-5BE31340E0A5}" presName="sibTrans" presStyleCnt="0"/>
      <dgm:spPr/>
    </dgm:pt>
    <dgm:pt modelId="{B18664F0-C6BE-4C15-A7B4-20D1856CF816}" type="pres">
      <dgm:prSet presAssocID="{2B824F8D-0F4A-482D-AD39-400F2CA8ECB5}" presName="textNode" presStyleLbl="node1" presStyleIdx="5" presStyleCnt="8" custScaleX="123106">
        <dgm:presLayoutVars>
          <dgm:bulletEnabled val="1"/>
        </dgm:presLayoutVars>
      </dgm:prSet>
      <dgm:spPr/>
    </dgm:pt>
    <dgm:pt modelId="{5DBD0445-5ED5-4D39-967A-EFCC983DD71F}" type="pres">
      <dgm:prSet presAssocID="{CECD5D49-6715-44F0-A859-68373F625845}" presName="sibTrans" presStyleCnt="0"/>
      <dgm:spPr/>
    </dgm:pt>
    <dgm:pt modelId="{62F2A9AF-22A1-407C-B1ED-D4475DDEF1DC}" type="pres">
      <dgm:prSet presAssocID="{8C30EEEE-0037-4F23-960A-F3B8C2B0271A}" presName="textNode" presStyleLbl="node1" presStyleIdx="6" presStyleCnt="8">
        <dgm:presLayoutVars>
          <dgm:bulletEnabled val="1"/>
        </dgm:presLayoutVars>
      </dgm:prSet>
      <dgm:spPr/>
    </dgm:pt>
    <dgm:pt modelId="{D2ED9BFF-D53C-4C76-B730-F7CA334B26D7}" type="pres">
      <dgm:prSet presAssocID="{98BCD1D1-EAF3-425C-B6F6-E04AA99EC169}" presName="sibTrans" presStyleCnt="0"/>
      <dgm:spPr/>
    </dgm:pt>
    <dgm:pt modelId="{A5A648B9-87AF-4CEF-B416-A1D97628CFB1}" type="pres">
      <dgm:prSet presAssocID="{2251F105-5557-44AE-89D0-371934ABC882}" presName="textNode" presStyleLbl="node1" presStyleIdx="7" presStyleCnt="8" custScaleX="151085">
        <dgm:presLayoutVars>
          <dgm:bulletEnabled val="1"/>
        </dgm:presLayoutVars>
      </dgm:prSet>
      <dgm:spPr/>
    </dgm:pt>
  </dgm:ptLst>
  <dgm:cxnLst>
    <dgm:cxn modelId="{EF360807-9D82-4204-BAFE-4A1E88F87784}" srcId="{D4510DCF-F6C7-4F55-BB5C-90DAF0DE14B1}" destId="{019DCE1C-6D6F-4FFE-91DD-81AADD7AFBAD}" srcOrd="0" destOrd="0" parTransId="{D4EF899C-C643-404C-B1D5-54EEF1D5643E}" sibTransId="{877FE54A-EDFC-46A5-9170-6F4DD04C5FC7}"/>
    <dgm:cxn modelId="{A6A97208-54C0-40A1-8650-9F20C646B0B8}" srcId="{D4510DCF-F6C7-4F55-BB5C-90DAF0DE14B1}" destId="{7DA3CFE7-7D89-4913-BC3F-2CA3C079F89B}" srcOrd="3" destOrd="0" parTransId="{72C5A94F-9B0B-4158-A235-5400083F509A}" sibTransId="{E507EA99-562E-4706-B34B-8AD4B1E89C3A}"/>
    <dgm:cxn modelId="{1BC64411-C5D4-4301-AFCF-0DD4E5231BC2}" type="presOf" srcId="{7DA3CFE7-7D89-4913-BC3F-2CA3C079F89B}" destId="{80FF13B9-9E37-40F6-9F8E-2F3C6B915A0F}" srcOrd="0" destOrd="0" presId="urn:microsoft.com/office/officeart/2005/8/layout/hProcess9"/>
    <dgm:cxn modelId="{3E18DC17-301B-445D-AF1B-B6A736FEA796}" type="presOf" srcId="{8C30EEEE-0037-4F23-960A-F3B8C2B0271A}" destId="{62F2A9AF-22A1-407C-B1ED-D4475DDEF1DC}" srcOrd="0" destOrd="0" presId="urn:microsoft.com/office/officeart/2005/8/layout/hProcess9"/>
    <dgm:cxn modelId="{9A9F152F-AA75-4B97-9279-7DEC79E1BD10}" type="presOf" srcId="{92E89340-0D76-47FB-AFFB-3CC9E14D5D7C}" destId="{2CBB4BEF-1A89-49D3-9B59-B25A5049F2EB}" srcOrd="0" destOrd="0" presId="urn:microsoft.com/office/officeart/2005/8/layout/hProcess9"/>
    <dgm:cxn modelId="{5443AD32-0715-4C29-BB82-3DAD1DAC3285}" type="presOf" srcId="{4DE5FC12-B9CD-4A02-BDE0-39B691768F20}" destId="{62201053-D849-4FCD-B993-571EBFA5243E}" srcOrd="0" destOrd="0" presId="urn:microsoft.com/office/officeart/2005/8/layout/hProcess9"/>
    <dgm:cxn modelId="{6508A972-8F63-4362-B5E0-51EF2FB243CC}" srcId="{D4510DCF-F6C7-4F55-BB5C-90DAF0DE14B1}" destId="{4DE5FC12-B9CD-4A02-BDE0-39B691768F20}" srcOrd="4" destOrd="0" parTransId="{9D817DC7-AAB1-4058-B8C8-E3D459ED4A18}" sibTransId="{4017AB02-F3AF-439D-BB6B-5BE31340E0A5}"/>
    <dgm:cxn modelId="{D55BA973-FAB0-4B72-A569-AC1EA6FB64E1}" type="presOf" srcId="{2251F105-5557-44AE-89D0-371934ABC882}" destId="{A5A648B9-87AF-4CEF-B416-A1D97628CFB1}" srcOrd="0" destOrd="0" presId="urn:microsoft.com/office/officeart/2005/8/layout/hProcess9"/>
    <dgm:cxn modelId="{ABF00C5A-47F3-4B0D-ACC4-F00163C96BA9}" type="presOf" srcId="{019DCE1C-6D6F-4FFE-91DD-81AADD7AFBAD}" destId="{8A073C8C-7751-4CB9-A524-00CE45ACE0B6}" srcOrd="0" destOrd="0" presId="urn:microsoft.com/office/officeart/2005/8/layout/hProcess9"/>
    <dgm:cxn modelId="{58A15184-ECEA-4F5F-8407-8F253FAD094D}" srcId="{D4510DCF-F6C7-4F55-BB5C-90DAF0DE14B1}" destId="{2B824F8D-0F4A-482D-AD39-400F2CA8ECB5}" srcOrd="5" destOrd="0" parTransId="{8A6F6102-DE15-4309-9B75-14FA68B3CB6A}" sibTransId="{CECD5D49-6715-44F0-A859-68373F625845}"/>
    <dgm:cxn modelId="{67909F85-D277-4032-88F0-DF443D5DB024}" srcId="{D4510DCF-F6C7-4F55-BB5C-90DAF0DE14B1}" destId="{2251F105-5557-44AE-89D0-371934ABC882}" srcOrd="7" destOrd="0" parTransId="{A4453E89-F930-4D78-B38A-C46960D6F42A}" sibTransId="{2B5E8A19-0B99-4B51-943F-DF33CEFD7492}"/>
    <dgm:cxn modelId="{8CB4C099-A7BC-4416-A59F-B96370F971D8}" srcId="{D4510DCF-F6C7-4F55-BB5C-90DAF0DE14B1}" destId="{91F15A80-5AC6-4574-8AD5-30D6516C9E2F}" srcOrd="1" destOrd="0" parTransId="{F838931F-A534-4025-A61E-3AD886558946}" sibTransId="{CD8E1CE9-C192-4286-B36A-0804F55D2603}"/>
    <dgm:cxn modelId="{49720E9C-3284-41FE-9B55-8EFA6A5A5E68}" srcId="{D4510DCF-F6C7-4F55-BB5C-90DAF0DE14B1}" destId="{92E89340-0D76-47FB-AFFB-3CC9E14D5D7C}" srcOrd="2" destOrd="0" parTransId="{F875E23E-7E0C-437B-A834-28B269E7BD4E}" sibTransId="{5D2AB3AB-ACDC-4BA1-B152-C4ACEADAB04F}"/>
    <dgm:cxn modelId="{C2D57AAF-F314-4A91-89F3-69BA988A0677}" srcId="{D4510DCF-F6C7-4F55-BB5C-90DAF0DE14B1}" destId="{8C30EEEE-0037-4F23-960A-F3B8C2B0271A}" srcOrd="6" destOrd="0" parTransId="{2ECB347E-C9E3-47E1-9989-C50F39149050}" sibTransId="{98BCD1D1-EAF3-425C-B6F6-E04AA99EC169}"/>
    <dgm:cxn modelId="{7DD4CCE8-FADE-4EFE-BCA8-1C62981697BE}" type="presOf" srcId="{2B824F8D-0F4A-482D-AD39-400F2CA8ECB5}" destId="{B18664F0-C6BE-4C15-A7B4-20D1856CF816}" srcOrd="0" destOrd="0" presId="urn:microsoft.com/office/officeart/2005/8/layout/hProcess9"/>
    <dgm:cxn modelId="{3909EAE9-D0AF-4C01-BBAD-4673024FD61B}" type="presOf" srcId="{D4510DCF-F6C7-4F55-BB5C-90DAF0DE14B1}" destId="{EB2B9690-5C09-4F4C-9B90-6DD703578653}" srcOrd="0" destOrd="0" presId="urn:microsoft.com/office/officeart/2005/8/layout/hProcess9"/>
    <dgm:cxn modelId="{F6BBA8FD-7D2D-4F0F-933E-6848F5C08D7C}" type="presOf" srcId="{91F15A80-5AC6-4574-8AD5-30D6516C9E2F}" destId="{6DCCF6FC-0881-4755-8B41-48B9DE698B30}" srcOrd="0" destOrd="0" presId="urn:microsoft.com/office/officeart/2005/8/layout/hProcess9"/>
    <dgm:cxn modelId="{7688571B-5400-445A-9ADA-F52E3CC81272}" type="presParOf" srcId="{EB2B9690-5C09-4F4C-9B90-6DD703578653}" destId="{26AE0105-133E-4FF4-8816-8B4F92E66E75}" srcOrd="0" destOrd="0" presId="urn:microsoft.com/office/officeart/2005/8/layout/hProcess9"/>
    <dgm:cxn modelId="{75119976-26C3-4361-A867-94E73E446D3B}" type="presParOf" srcId="{EB2B9690-5C09-4F4C-9B90-6DD703578653}" destId="{9D6D4CED-C3A2-46AF-B90D-B5F7A9C8DC25}" srcOrd="1" destOrd="0" presId="urn:microsoft.com/office/officeart/2005/8/layout/hProcess9"/>
    <dgm:cxn modelId="{5B2D1C20-1E80-4B07-995C-59D2BBA156CB}" type="presParOf" srcId="{9D6D4CED-C3A2-46AF-B90D-B5F7A9C8DC25}" destId="{8A073C8C-7751-4CB9-A524-00CE45ACE0B6}" srcOrd="0" destOrd="0" presId="urn:microsoft.com/office/officeart/2005/8/layout/hProcess9"/>
    <dgm:cxn modelId="{E8BC1A3A-37C2-4160-91C1-0406B543ED85}" type="presParOf" srcId="{9D6D4CED-C3A2-46AF-B90D-B5F7A9C8DC25}" destId="{7F614FA5-81E8-4590-B8C8-9F80AA04ED7F}" srcOrd="1" destOrd="0" presId="urn:microsoft.com/office/officeart/2005/8/layout/hProcess9"/>
    <dgm:cxn modelId="{5564C4F2-DBF7-4846-BC2C-ACF65A81EC67}" type="presParOf" srcId="{9D6D4CED-C3A2-46AF-B90D-B5F7A9C8DC25}" destId="{6DCCF6FC-0881-4755-8B41-48B9DE698B30}" srcOrd="2" destOrd="0" presId="urn:microsoft.com/office/officeart/2005/8/layout/hProcess9"/>
    <dgm:cxn modelId="{FED67021-AE75-46F4-A0E7-92C833A28079}" type="presParOf" srcId="{9D6D4CED-C3A2-46AF-B90D-B5F7A9C8DC25}" destId="{85D7877B-9A68-44EE-BEDB-2C3587001E54}" srcOrd="3" destOrd="0" presId="urn:microsoft.com/office/officeart/2005/8/layout/hProcess9"/>
    <dgm:cxn modelId="{F1230E02-D780-42BF-A8E2-F2A29EAD9C57}" type="presParOf" srcId="{9D6D4CED-C3A2-46AF-B90D-B5F7A9C8DC25}" destId="{2CBB4BEF-1A89-49D3-9B59-B25A5049F2EB}" srcOrd="4" destOrd="0" presId="urn:microsoft.com/office/officeart/2005/8/layout/hProcess9"/>
    <dgm:cxn modelId="{78DCF646-BDE0-4D83-8F78-29EDFEAD5AF7}" type="presParOf" srcId="{9D6D4CED-C3A2-46AF-B90D-B5F7A9C8DC25}" destId="{42CAEE9A-7FFB-4C42-B1ED-16A2059EA047}" srcOrd="5" destOrd="0" presId="urn:microsoft.com/office/officeart/2005/8/layout/hProcess9"/>
    <dgm:cxn modelId="{4E43A739-90AA-4E25-A021-964A002F4E2B}" type="presParOf" srcId="{9D6D4CED-C3A2-46AF-B90D-B5F7A9C8DC25}" destId="{80FF13B9-9E37-40F6-9F8E-2F3C6B915A0F}" srcOrd="6" destOrd="0" presId="urn:microsoft.com/office/officeart/2005/8/layout/hProcess9"/>
    <dgm:cxn modelId="{D4F8C891-386F-4865-A6C2-E10F04B22DE3}" type="presParOf" srcId="{9D6D4CED-C3A2-46AF-B90D-B5F7A9C8DC25}" destId="{8DEA0620-39AA-49D8-A548-D1B5BD5E626E}" srcOrd="7" destOrd="0" presId="urn:microsoft.com/office/officeart/2005/8/layout/hProcess9"/>
    <dgm:cxn modelId="{3D482222-2752-4DFB-9D01-2AE5306C70BE}" type="presParOf" srcId="{9D6D4CED-C3A2-46AF-B90D-B5F7A9C8DC25}" destId="{62201053-D849-4FCD-B993-571EBFA5243E}" srcOrd="8" destOrd="0" presId="urn:microsoft.com/office/officeart/2005/8/layout/hProcess9"/>
    <dgm:cxn modelId="{FEAFEF48-D5E7-4307-B51E-B90CD2DFF2DF}" type="presParOf" srcId="{9D6D4CED-C3A2-46AF-B90D-B5F7A9C8DC25}" destId="{578FC630-A1E1-479C-99C2-977F66AFC56D}" srcOrd="9" destOrd="0" presId="urn:microsoft.com/office/officeart/2005/8/layout/hProcess9"/>
    <dgm:cxn modelId="{4095BDB7-43D7-4C05-AE44-A5D277A6ADB6}" type="presParOf" srcId="{9D6D4CED-C3A2-46AF-B90D-B5F7A9C8DC25}" destId="{B18664F0-C6BE-4C15-A7B4-20D1856CF816}" srcOrd="10" destOrd="0" presId="urn:microsoft.com/office/officeart/2005/8/layout/hProcess9"/>
    <dgm:cxn modelId="{E14F2FDD-65C2-42A4-868C-246C657C3C57}" type="presParOf" srcId="{9D6D4CED-C3A2-46AF-B90D-B5F7A9C8DC25}" destId="{5DBD0445-5ED5-4D39-967A-EFCC983DD71F}" srcOrd="11" destOrd="0" presId="urn:microsoft.com/office/officeart/2005/8/layout/hProcess9"/>
    <dgm:cxn modelId="{06100EBB-F505-49D0-A0A3-6130EC69B616}" type="presParOf" srcId="{9D6D4CED-C3A2-46AF-B90D-B5F7A9C8DC25}" destId="{62F2A9AF-22A1-407C-B1ED-D4475DDEF1DC}" srcOrd="12" destOrd="0" presId="urn:microsoft.com/office/officeart/2005/8/layout/hProcess9"/>
    <dgm:cxn modelId="{3FDB0764-A108-4F2A-B879-C6D660ABECC2}" type="presParOf" srcId="{9D6D4CED-C3A2-46AF-B90D-B5F7A9C8DC25}" destId="{D2ED9BFF-D53C-4C76-B730-F7CA334B26D7}" srcOrd="13" destOrd="0" presId="urn:microsoft.com/office/officeart/2005/8/layout/hProcess9"/>
    <dgm:cxn modelId="{723938DA-54E1-4133-884E-E7FD88A20E52}" type="presParOf" srcId="{9D6D4CED-C3A2-46AF-B90D-B5F7A9C8DC25}" destId="{A5A648B9-87AF-4CEF-B416-A1D97628CFB1}" srcOrd="14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D4510DCF-F6C7-4F55-BB5C-90DAF0DE14B1}" type="doc">
      <dgm:prSet loTypeId="urn:microsoft.com/office/officeart/2005/8/layout/hProcess9" loCatId="process" qsTypeId="urn:microsoft.com/office/officeart/2005/8/quickstyle/simple1" qsCatId="simple" csTypeId="urn:microsoft.com/office/officeart/2005/8/colors/accent1_2" csCatId="accent1" phldr="1"/>
      <dgm:spPr/>
    </dgm:pt>
    <dgm:pt modelId="{019DCE1C-6D6F-4FFE-91DD-81AADD7AFBAD}">
      <dgm:prSet phldrT="[Text]" custT="1"/>
      <dgm:spPr/>
      <dgm:t>
        <a:bodyPr/>
        <a:lstStyle/>
        <a:p>
          <a:r>
            <a:rPr lang="nb-NO" sz="1000" b="0"/>
            <a:t>NTNU Kurs 1</a:t>
          </a:r>
        </a:p>
        <a:p>
          <a:r>
            <a:rPr lang="nb-NO" sz="1000" b="0"/>
            <a:t>Introduksjon til opplæring </a:t>
          </a:r>
          <a:r>
            <a:rPr lang="nb-NO" sz="1000"/>
            <a:t>og egenlæring for rolle og prosess</a:t>
          </a:r>
        </a:p>
      </dgm:t>
    </dgm:pt>
    <dgm:pt modelId="{D4EF899C-C643-404C-B1D5-54EEF1D5643E}" type="parTrans" cxnId="{EF360807-9D82-4204-BAFE-4A1E88F87784}">
      <dgm:prSet/>
      <dgm:spPr/>
      <dgm:t>
        <a:bodyPr/>
        <a:lstStyle/>
        <a:p>
          <a:endParaRPr lang="nb-NO" sz="1000"/>
        </a:p>
      </dgm:t>
    </dgm:pt>
    <dgm:pt modelId="{877FE54A-EDFC-46A5-9170-6F4DD04C5FC7}" type="sibTrans" cxnId="{EF360807-9D82-4204-BAFE-4A1E88F87784}">
      <dgm:prSet/>
      <dgm:spPr/>
      <dgm:t>
        <a:bodyPr/>
        <a:lstStyle/>
        <a:p>
          <a:endParaRPr lang="nb-NO" sz="1000"/>
        </a:p>
      </dgm:t>
    </dgm:pt>
    <dgm:pt modelId="{92E89340-0D76-47FB-AFFB-3CC9E14D5D7C}">
      <dgm:prSet phldrT="[Text]" custT="1"/>
      <dgm:spPr/>
      <dgm:t>
        <a:bodyPr/>
        <a:lstStyle/>
        <a:p>
          <a:r>
            <a:rPr lang="nb-NO" sz="1000" b="0"/>
            <a:t>NTNU Kurs 2</a:t>
          </a:r>
        </a:p>
        <a:p>
          <a:r>
            <a:rPr lang="nb-NO" sz="900"/>
            <a:t>Refleksjon, spørsmål fra egenlæring, økonomimodell for rolle, nye rutiner og prosesser forberedelse til systemkurs</a:t>
          </a:r>
        </a:p>
      </dgm:t>
    </dgm:pt>
    <dgm:pt modelId="{F875E23E-7E0C-437B-A834-28B269E7BD4E}" type="parTrans" cxnId="{49720E9C-3284-41FE-9B55-8EFA6A5A5E68}">
      <dgm:prSet/>
      <dgm:spPr/>
      <dgm:t>
        <a:bodyPr/>
        <a:lstStyle/>
        <a:p>
          <a:endParaRPr lang="nb-NO" sz="1000"/>
        </a:p>
      </dgm:t>
    </dgm:pt>
    <dgm:pt modelId="{5D2AB3AB-ACDC-4BA1-B152-C4ACEADAB04F}" type="sibTrans" cxnId="{49720E9C-3284-41FE-9B55-8EFA6A5A5E68}">
      <dgm:prSet/>
      <dgm:spPr/>
      <dgm:t>
        <a:bodyPr/>
        <a:lstStyle/>
        <a:p>
          <a:endParaRPr lang="nb-NO" sz="1000"/>
        </a:p>
      </dgm:t>
    </dgm:pt>
    <dgm:pt modelId="{7DA3CFE7-7D89-4913-BC3F-2CA3C079F89B}">
      <dgm:prSet phldrT="[Text]" custT="1"/>
      <dgm:spPr/>
      <dgm:t>
        <a:bodyPr/>
        <a:lstStyle/>
        <a:p>
          <a:r>
            <a:rPr lang="nb-NO" sz="1000" b="0"/>
            <a:t>DFØ Systemkurs for Fagrekvirent</a:t>
          </a:r>
        </a:p>
      </dgm:t>
    </dgm:pt>
    <dgm:pt modelId="{72C5A94F-9B0B-4158-A235-5400083F509A}" type="parTrans" cxnId="{A6A97208-54C0-40A1-8650-9F20C646B0B8}">
      <dgm:prSet/>
      <dgm:spPr/>
      <dgm:t>
        <a:bodyPr/>
        <a:lstStyle/>
        <a:p>
          <a:endParaRPr lang="nb-NO" sz="1000"/>
        </a:p>
      </dgm:t>
    </dgm:pt>
    <dgm:pt modelId="{E507EA99-562E-4706-B34B-8AD4B1E89C3A}" type="sibTrans" cxnId="{A6A97208-54C0-40A1-8650-9F20C646B0B8}">
      <dgm:prSet/>
      <dgm:spPr/>
      <dgm:t>
        <a:bodyPr/>
        <a:lstStyle/>
        <a:p>
          <a:endParaRPr lang="nb-NO" sz="1000"/>
        </a:p>
      </dgm:t>
    </dgm:pt>
    <dgm:pt modelId="{4DE5FC12-B9CD-4A02-BDE0-39B691768F20}">
      <dgm:prSet phldrT="[Text]" custT="1"/>
      <dgm:spPr/>
      <dgm:t>
        <a:bodyPr/>
        <a:lstStyle/>
        <a:p>
          <a:r>
            <a:rPr lang="nb-NO" sz="1000" b="0"/>
            <a:t>Egenlæring</a:t>
          </a:r>
        </a:p>
        <a:p>
          <a:r>
            <a:rPr lang="nb-NO" sz="1000"/>
            <a:t>Repetisjon / oppslag etter opplæring og ved oppstart</a:t>
          </a:r>
        </a:p>
      </dgm:t>
    </dgm:pt>
    <dgm:pt modelId="{9D817DC7-AAB1-4058-B8C8-E3D459ED4A18}" type="parTrans" cxnId="{6508A972-8F63-4362-B5E0-51EF2FB243CC}">
      <dgm:prSet/>
      <dgm:spPr/>
      <dgm:t>
        <a:bodyPr/>
        <a:lstStyle/>
        <a:p>
          <a:endParaRPr lang="nb-NO" sz="1000"/>
        </a:p>
      </dgm:t>
    </dgm:pt>
    <dgm:pt modelId="{4017AB02-F3AF-439D-BB6B-5BE31340E0A5}" type="sibTrans" cxnId="{6508A972-8F63-4362-B5E0-51EF2FB243CC}">
      <dgm:prSet/>
      <dgm:spPr/>
      <dgm:t>
        <a:bodyPr/>
        <a:lstStyle/>
        <a:p>
          <a:endParaRPr lang="nb-NO" sz="1000"/>
        </a:p>
      </dgm:t>
    </dgm:pt>
    <dgm:pt modelId="{91F15A80-5AC6-4574-8AD5-30D6516C9E2F}">
      <dgm:prSet phldrT="[Text]" custT="1"/>
      <dgm:spPr/>
      <dgm:t>
        <a:bodyPr/>
        <a:lstStyle/>
        <a:p>
          <a:r>
            <a:rPr lang="nb-NO" sz="1000" b="0"/>
            <a:t>Egenlæring</a:t>
          </a:r>
        </a:p>
        <a:p>
          <a:r>
            <a:rPr lang="nb-NO" sz="1000"/>
            <a:t>E-læring for rolle og prosess</a:t>
          </a:r>
        </a:p>
        <a:p>
          <a:r>
            <a:rPr lang="nb-NO" sz="1000"/>
            <a:t>Økonomi-modell – videokurs</a:t>
          </a:r>
        </a:p>
        <a:p>
          <a:r>
            <a:rPr lang="nb-NO" sz="1000"/>
            <a:t>Lokal oppfølging</a:t>
          </a:r>
        </a:p>
      </dgm:t>
    </dgm:pt>
    <dgm:pt modelId="{F838931F-A534-4025-A61E-3AD886558946}" type="parTrans" cxnId="{8CB4C099-A7BC-4416-A59F-B96370F971D8}">
      <dgm:prSet/>
      <dgm:spPr/>
      <dgm:t>
        <a:bodyPr/>
        <a:lstStyle/>
        <a:p>
          <a:endParaRPr lang="nb-NO" sz="1000"/>
        </a:p>
      </dgm:t>
    </dgm:pt>
    <dgm:pt modelId="{CD8E1CE9-C192-4286-B36A-0804F55D2603}" type="sibTrans" cxnId="{8CB4C099-A7BC-4416-A59F-B96370F971D8}">
      <dgm:prSet/>
      <dgm:spPr/>
      <dgm:t>
        <a:bodyPr/>
        <a:lstStyle/>
        <a:p>
          <a:endParaRPr lang="nb-NO" sz="1000"/>
        </a:p>
      </dgm:t>
    </dgm:pt>
    <dgm:pt modelId="{8C30EEEE-0037-4F23-960A-F3B8C2B0271A}">
      <dgm:prSet phldrT="[Text]" custT="1"/>
      <dgm:spPr/>
      <dgm:t>
        <a:bodyPr/>
        <a:lstStyle/>
        <a:p>
          <a:r>
            <a:rPr lang="nb-NO" sz="1000" b="0"/>
            <a:t>Bruker-støtte</a:t>
          </a:r>
        </a:p>
        <a:p>
          <a:r>
            <a:rPr lang="nb-NO" sz="1000"/>
            <a:t>Innsida</a:t>
          </a:r>
        </a:p>
        <a:p>
          <a:r>
            <a:rPr lang="nb-NO" sz="1000"/>
            <a:t>NTNU Hjelp</a:t>
          </a:r>
        </a:p>
        <a:p>
          <a:r>
            <a:rPr lang="nb-NO" sz="1000" b="0"/>
            <a:t>Lokal oppfølging </a:t>
          </a:r>
        </a:p>
      </dgm:t>
    </dgm:pt>
    <dgm:pt modelId="{2ECB347E-C9E3-47E1-9989-C50F39149050}" type="parTrans" cxnId="{C2D57AAF-F314-4A91-89F3-69BA988A0677}">
      <dgm:prSet/>
      <dgm:spPr/>
      <dgm:t>
        <a:bodyPr/>
        <a:lstStyle/>
        <a:p>
          <a:endParaRPr lang="nb-NO" sz="1000"/>
        </a:p>
      </dgm:t>
    </dgm:pt>
    <dgm:pt modelId="{98BCD1D1-EAF3-425C-B6F6-E04AA99EC169}" type="sibTrans" cxnId="{C2D57AAF-F314-4A91-89F3-69BA988A0677}">
      <dgm:prSet/>
      <dgm:spPr/>
      <dgm:t>
        <a:bodyPr/>
        <a:lstStyle/>
        <a:p>
          <a:endParaRPr lang="nb-NO" sz="1000"/>
        </a:p>
      </dgm:t>
    </dgm:pt>
    <dgm:pt modelId="{2B824F8D-0F4A-482D-AD39-400F2CA8ECB5}">
      <dgm:prSet phldrT="[Text]" custT="1"/>
      <dgm:spPr/>
      <dgm:t>
        <a:bodyPr/>
        <a:lstStyle/>
        <a:p>
          <a:pPr algn="ctr"/>
          <a:r>
            <a:rPr lang="nb-NO" sz="1000" b="0"/>
            <a:t>NTNU kurs 3</a:t>
          </a:r>
        </a:p>
        <a:p>
          <a:pPr algn="l"/>
          <a:r>
            <a:rPr lang="nb-NO" sz="1000" b="0"/>
            <a:t>Refleksjon/ spørsmål etter DFØ System-opplæring </a:t>
          </a:r>
        </a:p>
      </dgm:t>
    </dgm:pt>
    <dgm:pt modelId="{8A6F6102-DE15-4309-9B75-14FA68B3CB6A}" type="parTrans" cxnId="{58A15184-ECEA-4F5F-8407-8F253FAD094D}">
      <dgm:prSet/>
      <dgm:spPr/>
      <dgm:t>
        <a:bodyPr/>
        <a:lstStyle/>
        <a:p>
          <a:endParaRPr lang="nb-NO"/>
        </a:p>
      </dgm:t>
    </dgm:pt>
    <dgm:pt modelId="{CECD5D49-6715-44F0-A859-68373F625845}" type="sibTrans" cxnId="{58A15184-ECEA-4F5F-8407-8F253FAD094D}">
      <dgm:prSet/>
      <dgm:spPr/>
      <dgm:t>
        <a:bodyPr/>
        <a:lstStyle/>
        <a:p>
          <a:endParaRPr lang="nb-NO"/>
        </a:p>
      </dgm:t>
    </dgm:pt>
    <dgm:pt modelId="{31F01669-38A1-48B5-B557-834268B2C88F}">
      <dgm:prSet phldrT="[Text]" custT="1"/>
      <dgm:spPr/>
      <dgm:t>
        <a:bodyPr/>
        <a:lstStyle/>
        <a:p>
          <a:r>
            <a:rPr lang="nb-NO" sz="1000"/>
            <a:t>DFØ Systemkurs for Fagrekvirent </a:t>
          </a:r>
        </a:p>
        <a:p>
          <a:r>
            <a:rPr lang="nb-NO" sz="1000"/>
            <a:t>(samme som før jul)</a:t>
          </a:r>
        </a:p>
      </dgm:t>
    </dgm:pt>
    <dgm:pt modelId="{4A220FD2-5AF6-432D-9142-B23DA2F5CC75}" type="parTrans" cxnId="{11735DC1-1C50-45D3-B120-4F2778D1410D}">
      <dgm:prSet/>
      <dgm:spPr/>
      <dgm:t>
        <a:bodyPr/>
        <a:lstStyle/>
        <a:p>
          <a:endParaRPr lang="nb-NO"/>
        </a:p>
      </dgm:t>
    </dgm:pt>
    <dgm:pt modelId="{CDE1F9C4-5DED-4CEE-8BC3-B002D6753151}" type="sibTrans" cxnId="{11735DC1-1C50-45D3-B120-4F2778D1410D}">
      <dgm:prSet/>
      <dgm:spPr/>
      <dgm:t>
        <a:bodyPr/>
        <a:lstStyle/>
        <a:p>
          <a:endParaRPr lang="nb-NO"/>
        </a:p>
      </dgm:t>
    </dgm:pt>
    <dgm:pt modelId="{EB2B9690-5C09-4F4C-9B90-6DD703578653}" type="pres">
      <dgm:prSet presAssocID="{D4510DCF-F6C7-4F55-BB5C-90DAF0DE14B1}" presName="CompostProcess" presStyleCnt="0">
        <dgm:presLayoutVars>
          <dgm:dir/>
          <dgm:resizeHandles val="exact"/>
        </dgm:presLayoutVars>
      </dgm:prSet>
      <dgm:spPr/>
    </dgm:pt>
    <dgm:pt modelId="{26AE0105-133E-4FF4-8816-8B4F92E66E75}" type="pres">
      <dgm:prSet presAssocID="{D4510DCF-F6C7-4F55-BB5C-90DAF0DE14B1}" presName="arrow" presStyleLbl="bgShp" presStyleIdx="0" presStyleCnt="1" custScaleX="117647" custLinFactNeighborX="87629" custLinFactNeighborY="-18148"/>
      <dgm:spPr/>
    </dgm:pt>
    <dgm:pt modelId="{9D6D4CED-C3A2-46AF-B90D-B5F7A9C8DC25}" type="pres">
      <dgm:prSet presAssocID="{D4510DCF-F6C7-4F55-BB5C-90DAF0DE14B1}" presName="linearProcess" presStyleCnt="0"/>
      <dgm:spPr/>
    </dgm:pt>
    <dgm:pt modelId="{8A073C8C-7751-4CB9-A524-00CE45ACE0B6}" type="pres">
      <dgm:prSet presAssocID="{019DCE1C-6D6F-4FFE-91DD-81AADD7AFBAD}" presName="textNode" presStyleLbl="node1" presStyleIdx="0" presStyleCnt="8" custScaleX="113252" custLinFactNeighborX="31510">
        <dgm:presLayoutVars>
          <dgm:bulletEnabled val="1"/>
        </dgm:presLayoutVars>
      </dgm:prSet>
      <dgm:spPr/>
    </dgm:pt>
    <dgm:pt modelId="{7F614FA5-81E8-4590-B8C8-9F80AA04ED7F}" type="pres">
      <dgm:prSet presAssocID="{877FE54A-EDFC-46A5-9170-6F4DD04C5FC7}" presName="sibTrans" presStyleCnt="0"/>
      <dgm:spPr/>
    </dgm:pt>
    <dgm:pt modelId="{6DCCF6FC-0881-4755-8B41-48B9DE698B30}" type="pres">
      <dgm:prSet presAssocID="{91F15A80-5AC6-4574-8AD5-30D6516C9E2F}" presName="textNode" presStyleLbl="node1" presStyleIdx="1" presStyleCnt="8" custScaleX="118437">
        <dgm:presLayoutVars>
          <dgm:bulletEnabled val="1"/>
        </dgm:presLayoutVars>
      </dgm:prSet>
      <dgm:spPr/>
    </dgm:pt>
    <dgm:pt modelId="{85D7877B-9A68-44EE-BEDB-2C3587001E54}" type="pres">
      <dgm:prSet presAssocID="{CD8E1CE9-C192-4286-B36A-0804F55D2603}" presName="sibTrans" presStyleCnt="0"/>
      <dgm:spPr/>
    </dgm:pt>
    <dgm:pt modelId="{2CBB4BEF-1A89-49D3-9B59-B25A5049F2EB}" type="pres">
      <dgm:prSet presAssocID="{92E89340-0D76-47FB-AFFB-3CC9E14D5D7C}" presName="textNode" presStyleLbl="node1" presStyleIdx="2" presStyleCnt="8" custScaleX="115308">
        <dgm:presLayoutVars>
          <dgm:bulletEnabled val="1"/>
        </dgm:presLayoutVars>
      </dgm:prSet>
      <dgm:spPr/>
    </dgm:pt>
    <dgm:pt modelId="{42CAEE9A-7FFB-4C42-B1ED-16A2059EA047}" type="pres">
      <dgm:prSet presAssocID="{5D2AB3AB-ACDC-4BA1-B152-C4ACEADAB04F}" presName="sibTrans" presStyleCnt="0"/>
      <dgm:spPr/>
    </dgm:pt>
    <dgm:pt modelId="{80FF13B9-9E37-40F6-9F8E-2F3C6B915A0F}" type="pres">
      <dgm:prSet presAssocID="{7DA3CFE7-7D89-4913-BC3F-2CA3C079F89B}" presName="textNode" presStyleLbl="node1" presStyleIdx="3" presStyleCnt="8" custScaleX="119750">
        <dgm:presLayoutVars>
          <dgm:bulletEnabled val="1"/>
        </dgm:presLayoutVars>
      </dgm:prSet>
      <dgm:spPr/>
    </dgm:pt>
    <dgm:pt modelId="{8DEA0620-39AA-49D8-A548-D1B5BD5E626E}" type="pres">
      <dgm:prSet presAssocID="{E507EA99-562E-4706-B34B-8AD4B1E89C3A}" presName="sibTrans" presStyleCnt="0"/>
      <dgm:spPr/>
    </dgm:pt>
    <dgm:pt modelId="{62201053-D849-4FCD-B993-571EBFA5243E}" type="pres">
      <dgm:prSet presAssocID="{4DE5FC12-B9CD-4A02-BDE0-39B691768F20}" presName="textNode" presStyleLbl="node1" presStyleIdx="4" presStyleCnt="8" custScaleX="124360">
        <dgm:presLayoutVars>
          <dgm:bulletEnabled val="1"/>
        </dgm:presLayoutVars>
      </dgm:prSet>
      <dgm:spPr/>
    </dgm:pt>
    <dgm:pt modelId="{578FC630-A1E1-479C-99C2-977F66AFC56D}" type="pres">
      <dgm:prSet presAssocID="{4017AB02-F3AF-439D-BB6B-5BE31340E0A5}" presName="sibTrans" presStyleCnt="0"/>
      <dgm:spPr/>
    </dgm:pt>
    <dgm:pt modelId="{B18664F0-C6BE-4C15-A7B4-20D1856CF816}" type="pres">
      <dgm:prSet presAssocID="{2B824F8D-0F4A-482D-AD39-400F2CA8ECB5}" presName="textNode" presStyleLbl="node1" presStyleIdx="5" presStyleCnt="8" custScaleX="123106">
        <dgm:presLayoutVars>
          <dgm:bulletEnabled val="1"/>
        </dgm:presLayoutVars>
      </dgm:prSet>
      <dgm:spPr/>
    </dgm:pt>
    <dgm:pt modelId="{5DBD0445-5ED5-4D39-967A-EFCC983DD71F}" type="pres">
      <dgm:prSet presAssocID="{CECD5D49-6715-44F0-A859-68373F625845}" presName="sibTrans" presStyleCnt="0"/>
      <dgm:spPr/>
    </dgm:pt>
    <dgm:pt modelId="{62F2A9AF-22A1-407C-B1ED-D4475DDEF1DC}" type="pres">
      <dgm:prSet presAssocID="{8C30EEEE-0037-4F23-960A-F3B8C2B0271A}" presName="textNode" presStyleLbl="node1" presStyleIdx="6" presStyleCnt="8" custScaleX="139650">
        <dgm:presLayoutVars>
          <dgm:bulletEnabled val="1"/>
        </dgm:presLayoutVars>
      </dgm:prSet>
      <dgm:spPr/>
    </dgm:pt>
    <dgm:pt modelId="{AF4B7DDB-3BD9-4B6D-93E4-2C30E3F72A87}" type="pres">
      <dgm:prSet presAssocID="{98BCD1D1-EAF3-425C-B6F6-E04AA99EC169}" presName="sibTrans" presStyleCnt="0"/>
      <dgm:spPr/>
    </dgm:pt>
    <dgm:pt modelId="{A9803DBB-F235-4AFB-867E-42141B7FCAF3}" type="pres">
      <dgm:prSet presAssocID="{31F01669-38A1-48B5-B557-834268B2C88F}" presName="textNode" presStyleLbl="node1" presStyleIdx="7" presStyleCnt="8" custScaleX="113866">
        <dgm:presLayoutVars>
          <dgm:bulletEnabled val="1"/>
        </dgm:presLayoutVars>
      </dgm:prSet>
      <dgm:spPr/>
    </dgm:pt>
  </dgm:ptLst>
  <dgm:cxnLst>
    <dgm:cxn modelId="{EF360807-9D82-4204-BAFE-4A1E88F87784}" srcId="{D4510DCF-F6C7-4F55-BB5C-90DAF0DE14B1}" destId="{019DCE1C-6D6F-4FFE-91DD-81AADD7AFBAD}" srcOrd="0" destOrd="0" parTransId="{D4EF899C-C643-404C-B1D5-54EEF1D5643E}" sibTransId="{877FE54A-EDFC-46A5-9170-6F4DD04C5FC7}"/>
    <dgm:cxn modelId="{A6A97208-54C0-40A1-8650-9F20C646B0B8}" srcId="{D4510DCF-F6C7-4F55-BB5C-90DAF0DE14B1}" destId="{7DA3CFE7-7D89-4913-BC3F-2CA3C079F89B}" srcOrd="3" destOrd="0" parTransId="{72C5A94F-9B0B-4158-A235-5400083F509A}" sibTransId="{E507EA99-562E-4706-B34B-8AD4B1E89C3A}"/>
    <dgm:cxn modelId="{1BC64411-C5D4-4301-AFCF-0DD4E5231BC2}" type="presOf" srcId="{7DA3CFE7-7D89-4913-BC3F-2CA3C079F89B}" destId="{80FF13B9-9E37-40F6-9F8E-2F3C6B915A0F}" srcOrd="0" destOrd="0" presId="urn:microsoft.com/office/officeart/2005/8/layout/hProcess9"/>
    <dgm:cxn modelId="{3E18DC17-301B-445D-AF1B-B6A736FEA796}" type="presOf" srcId="{8C30EEEE-0037-4F23-960A-F3B8C2B0271A}" destId="{62F2A9AF-22A1-407C-B1ED-D4475DDEF1DC}" srcOrd="0" destOrd="0" presId="urn:microsoft.com/office/officeart/2005/8/layout/hProcess9"/>
    <dgm:cxn modelId="{9A9F152F-AA75-4B97-9279-7DEC79E1BD10}" type="presOf" srcId="{92E89340-0D76-47FB-AFFB-3CC9E14D5D7C}" destId="{2CBB4BEF-1A89-49D3-9B59-B25A5049F2EB}" srcOrd="0" destOrd="0" presId="urn:microsoft.com/office/officeart/2005/8/layout/hProcess9"/>
    <dgm:cxn modelId="{5443AD32-0715-4C29-BB82-3DAD1DAC3285}" type="presOf" srcId="{4DE5FC12-B9CD-4A02-BDE0-39B691768F20}" destId="{62201053-D849-4FCD-B993-571EBFA5243E}" srcOrd="0" destOrd="0" presId="urn:microsoft.com/office/officeart/2005/8/layout/hProcess9"/>
    <dgm:cxn modelId="{6508A972-8F63-4362-B5E0-51EF2FB243CC}" srcId="{D4510DCF-F6C7-4F55-BB5C-90DAF0DE14B1}" destId="{4DE5FC12-B9CD-4A02-BDE0-39B691768F20}" srcOrd="4" destOrd="0" parTransId="{9D817DC7-AAB1-4058-B8C8-E3D459ED4A18}" sibTransId="{4017AB02-F3AF-439D-BB6B-5BE31340E0A5}"/>
    <dgm:cxn modelId="{ABF00C5A-47F3-4B0D-ACC4-F00163C96BA9}" type="presOf" srcId="{019DCE1C-6D6F-4FFE-91DD-81AADD7AFBAD}" destId="{8A073C8C-7751-4CB9-A524-00CE45ACE0B6}" srcOrd="0" destOrd="0" presId="urn:microsoft.com/office/officeart/2005/8/layout/hProcess9"/>
    <dgm:cxn modelId="{00A5A083-8AB3-49D3-A7BB-4758346C3043}" type="presOf" srcId="{31F01669-38A1-48B5-B557-834268B2C88F}" destId="{A9803DBB-F235-4AFB-867E-42141B7FCAF3}" srcOrd="0" destOrd="0" presId="urn:microsoft.com/office/officeart/2005/8/layout/hProcess9"/>
    <dgm:cxn modelId="{58A15184-ECEA-4F5F-8407-8F253FAD094D}" srcId="{D4510DCF-F6C7-4F55-BB5C-90DAF0DE14B1}" destId="{2B824F8D-0F4A-482D-AD39-400F2CA8ECB5}" srcOrd="5" destOrd="0" parTransId="{8A6F6102-DE15-4309-9B75-14FA68B3CB6A}" sibTransId="{CECD5D49-6715-44F0-A859-68373F625845}"/>
    <dgm:cxn modelId="{8CB4C099-A7BC-4416-A59F-B96370F971D8}" srcId="{D4510DCF-F6C7-4F55-BB5C-90DAF0DE14B1}" destId="{91F15A80-5AC6-4574-8AD5-30D6516C9E2F}" srcOrd="1" destOrd="0" parTransId="{F838931F-A534-4025-A61E-3AD886558946}" sibTransId="{CD8E1CE9-C192-4286-B36A-0804F55D2603}"/>
    <dgm:cxn modelId="{49720E9C-3284-41FE-9B55-8EFA6A5A5E68}" srcId="{D4510DCF-F6C7-4F55-BB5C-90DAF0DE14B1}" destId="{92E89340-0D76-47FB-AFFB-3CC9E14D5D7C}" srcOrd="2" destOrd="0" parTransId="{F875E23E-7E0C-437B-A834-28B269E7BD4E}" sibTransId="{5D2AB3AB-ACDC-4BA1-B152-C4ACEADAB04F}"/>
    <dgm:cxn modelId="{C2D57AAF-F314-4A91-89F3-69BA988A0677}" srcId="{D4510DCF-F6C7-4F55-BB5C-90DAF0DE14B1}" destId="{8C30EEEE-0037-4F23-960A-F3B8C2B0271A}" srcOrd="6" destOrd="0" parTransId="{2ECB347E-C9E3-47E1-9989-C50F39149050}" sibTransId="{98BCD1D1-EAF3-425C-B6F6-E04AA99EC169}"/>
    <dgm:cxn modelId="{11735DC1-1C50-45D3-B120-4F2778D1410D}" srcId="{D4510DCF-F6C7-4F55-BB5C-90DAF0DE14B1}" destId="{31F01669-38A1-48B5-B557-834268B2C88F}" srcOrd="7" destOrd="0" parTransId="{4A220FD2-5AF6-432D-9142-B23DA2F5CC75}" sibTransId="{CDE1F9C4-5DED-4CEE-8BC3-B002D6753151}"/>
    <dgm:cxn modelId="{7DD4CCE8-FADE-4EFE-BCA8-1C62981697BE}" type="presOf" srcId="{2B824F8D-0F4A-482D-AD39-400F2CA8ECB5}" destId="{B18664F0-C6BE-4C15-A7B4-20D1856CF816}" srcOrd="0" destOrd="0" presId="urn:microsoft.com/office/officeart/2005/8/layout/hProcess9"/>
    <dgm:cxn modelId="{3909EAE9-D0AF-4C01-BBAD-4673024FD61B}" type="presOf" srcId="{D4510DCF-F6C7-4F55-BB5C-90DAF0DE14B1}" destId="{EB2B9690-5C09-4F4C-9B90-6DD703578653}" srcOrd="0" destOrd="0" presId="urn:microsoft.com/office/officeart/2005/8/layout/hProcess9"/>
    <dgm:cxn modelId="{F6BBA8FD-7D2D-4F0F-933E-6848F5C08D7C}" type="presOf" srcId="{91F15A80-5AC6-4574-8AD5-30D6516C9E2F}" destId="{6DCCF6FC-0881-4755-8B41-48B9DE698B30}" srcOrd="0" destOrd="0" presId="urn:microsoft.com/office/officeart/2005/8/layout/hProcess9"/>
    <dgm:cxn modelId="{7688571B-5400-445A-9ADA-F52E3CC81272}" type="presParOf" srcId="{EB2B9690-5C09-4F4C-9B90-6DD703578653}" destId="{26AE0105-133E-4FF4-8816-8B4F92E66E75}" srcOrd="0" destOrd="0" presId="urn:microsoft.com/office/officeart/2005/8/layout/hProcess9"/>
    <dgm:cxn modelId="{75119976-26C3-4361-A867-94E73E446D3B}" type="presParOf" srcId="{EB2B9690-5C09-4F4C-9B90-6DD703578653}" destId="{9D6D4CED-C3A2-46AF-B90D-B5F7A9C8DC25}" srcOrd="1" destOrd="0" presId="urn:microsoft.com/office/officeart/2005/8/layout/hProcess9"/>
    <dgm:cxn modelId="{5B2D1C20-1E80-4B07-995C-59D2BBA156CB}" type="presParOf" srcId="{9D6D4CED-C3A2-46AF-B90D-B5F7A9C8DC25}" destId="{8A073C8C-7751-4CB9-A524-00CE45ACE0B6}" srcOrd="0" destOrd="0" presId="urn:microsoft.com/office/officeart/2005/8/layout/hProcess9"/>
    <dgm:cxn modelId="{E8BC1A3A-37C2-4160-91C1-0406B543ED85}" type="presParOf" srcId="{9D6D4CED-C3A2-46AF-B90D-B5F7A9C8DC25}" destId="{7F614FA5-81E8-4590-B8C8-9F80AA04ED7F}" srcOrd="1" destOrd="0" presId="urn:microsoft.com/office/officeart/2005/8/layout/hProcess9"/>
    <dgm:cxn modelId="{5564C4F2-DBF7-4846-BC2C-ACF65A81EC67}" type="presParOf" srcId="{9D6D4CED-C3A2-46AF-B90D-B5F7A9C8DC25}" destId="{6DCCF6FC-0881-4755-8B41-48B9DE698B30}" srcOrd="2" destOrd="0" presId="urn:microsoft.com/office/officeart/2005/8/layout/hProcess9"/>
    <dgm:cxn modelId="{FED67021-AE75-46F4-A0E7-92C833A28079}" type="presParOf" srcId="{9D6D4CED-C3A2-46AF-B90D-B5F7A9C8DC25}" destId="{85D7877B-9A68-44EE-BEDB-2C3587001E54}" srcOrd="3" destOrd="0" presId="urn:microsoft.com/office/officeart/2005/8/layout/hProcess9"/>
    <dgm:cxn modelId="{F1230E02-D780-42BF-A8E2-F2A29EAD9C57}" type="presParOf" srcId="{9D6D4CED-C3A2-46AF-B90D-B5F7A9C8DC25}" destId="{2CBB4BEF-1A89-49D3-9B59-B25A5049F2EB}" srcOrd="4" destOrd="0" presId="urn:microsoft.com/office/officeart/2005/8/layout/hProcess9"/>
    <dgm:cxn modelId="{78DCF646-BDE0-4D83-8F78-29EDFEAD5AF7}" type="presParOf" srcId="{9D6D4CED-C3A2-46AF-B90D-B5F7A9C8DC25}" destId="{42CAEE9A-7FFB-4C42-B1ED-16A2059EA047}" srcOrd="5" destOrd="0" presId="urn:microsoft.com/office/officeart/2005/8/layout/hProcess9"/>
    <dgm:cxn modelId="{4E43A739-90AA-4E25-A021-964A002F4E2B}" type="presParOf" srcId="{9D6D4CED-C3A2-46AF-B90D-B5F7A9C8DC25}" destId="{80FF13B9-9E37-40F6-9F8E-2F3C6B915A0F}" srcOrd="6" destOrd="0" presId="urn:microsoft.com/office/officeart/2005/8/layout/hProcess9"/>
    <dgm:cxn modelId="{D4F8C891-386F-4865-A6C2-E10F04B22DE3}" type="presParOf" srcId="{9D6D4CED-C3A2-46AF-B90D-B5F7A9C8DC25}" destId="{8DEA0620-39AA-49D8-A548-D1B5BD5E626E}" srcOrd="7" destOrd="0" presId="urn:microsoft.com/office/officeart/2005/8/layout/hProcess9"/>
    <dgm:cxn modelId="{3D482222-2752-4DFB-9D01-2AE5306C70BE}" type="presParOf" srcId="{9D6D4CED-C3A2-46AF-B90D-B5F7A9C8DC25}" destId="{62201053-D849-4FCD-B993-571EBFA5243E}" srcOrd="8" destOrd="0" presId="urn:microsoft.com/office/officeart/2005/8/layout/hProcess9"/>
    <dgm:cxn modelId="{FEAFEF48-D5E7-4307-B51E-B90CD2DFF2DF}" type="presParOf" srcId="{9D6D4CED-C3A2-46AF-B90D-B5F7A9C8DC25}" destId="{578FC630-A1E1-479C-99C2-977F66AFC56D}" srcOrd="9" destOrd="0" presId="urn:microsoft.com/office/officeart/2005/8/layout/hProcess9"/>
    <dgm:cxn modelId="{4095BDB7-43D7-4C05-AE44-A5D277A6ADB6}" type="presParOf" srcId="{9D6D4CED-C3A2-46AF-B90D-B5F7A9C8DC25}" destId="{B18664F0-C6BE-4C15-A7B4-20D1856CF816}" srcOrd="10" destOrd="0" presId="urn:microsoft.com/office/officeart/2005/8/layout/hProcess9"/>
    <dgm:cxn modelId="{E14F2FDD-65C2-42A4-868C-246C657C3C57}" type="presParOf" srcId="{9D6D4CED-C3A2-46AF-B90D-B5F7A9C8DC25}" destId="{5DBD0445-5ED5-4D39-967A-EFCC983DD71F}" srcOrd="11" destOrd="0" presId="urn:microsoft.com/office/officeart/2005/8/layout/hProcess9"/>
    <dgm:cxn modelId="{06100EBB-F505-49D0-A0A3-6130EC69B616}" type="presParOf" srcId="{9D6D4CED-C3A2-46AF-B90D-B5F7A9C8DC25}" destId="{62F2A9AF-22A1-407C-B1ED-D4475DDEF1DC}" srcOrd="12" destOrd="0" presId="urn:microsoft.com/office/officeart/2005/8/layout/hProcess9"/>
    <dgm:cxn modelId="{8C657942-6A04-4A79-8A3A-7272AB555081}" type="presParOf" srcId="{9D6D4CED-C3A2-46AF-B90D-B5F7A9C8DC25}" destId="{AF4B7DDB-3BD9-4B6D-93E4-2C30E3F72A87}" srcOrd="13" destOrd="0" presId="urn:microsoft.com/office/officeart/2005/8/layout/hProcess9"/>
    <dgm:cxn modelId="{68A31907-8162-4E19-A8E6-A0535194CF08}" type="presParOf" srcId="{9D6D4CED-C3A2-46AF-B90D-B5F7A9C8DC25}" destId="{A9803DBB-F235-4AFB-867E-42141B7FCAF3}" srcOrd="14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A8F44B10-7FF8-45EC-8D25-CDB3615F1B86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nb-NO"/>
        </a:p>
      </dgm:t>
    </dgm:pt>
    <dgm:pt modelId="{1D643BA1-E85E-471E-9CCA-1382D82827BF}">
      <dgm:prSet phldrT="[Text]"/>
      <dgm:spPr/>
      <dgm:t>
        <a:bodyPr/>
        <a:lstStyle/>
        <a:p>
          <a:r>
            <a:rPr lang="nb-NO"/>
            <a:t>Innkjøpere</a:t>
          </a:r>
        </a:p>
      </dgm:t>
    </dgm:pt>
    <dgm:pt modelId="{1626D27F-838B-4C30-A2A9-4AC0A17C1C7A}" type="parTrans" cxnId="{7CA5EE7F-5850-41B3-97AC-E924315F8495}">
      <dgm:prSet/>
      <dgm:spPr/>
      <dgm:t>
        <a:bodyPr/>
        <a:lstStyle/>
        <a:p>
          <a:endParaRPr lang="nb-NO"/>
        </a:p>
      </dgm:t>
    </dgm:pt>
    <dgm:pt modelId="{C2AAEDDA-56F4-4792-9965-6144DBBE6777}" type="sibTrans" cxnId="{7CA5EE7F-5850-41B3-97AC-E924315F8495}">
      <dgm:prSet/>
      <dgm:spPr/>
      <dgm:t>
        <a:bodyPr/>
        <a:lstStyle/>
        <a:p>
          <a:endParaRPr lang="nb-NO"/>
        </a:p>
      </dgm:t>
    </dgm:pt>
    <dgm:pt modelId="{CAF4A744-3813-44F8-82E7-7B680A513909}">
      <dgm:prSet phldrT="[Text]"/>
      <dgm:spPr/>
      <dgm:t>
        <a:bodyPr/>
        <a:lstStyle/>
        <a:p>
          <a:r>
            <a:rPr lang="nb-NO"/>
            <a:t>Fagrekvirenter</a:t>
          </a:r>
        </a:p>
      </dgm:t>
    </dgm:pt>
    <dgm:pt modelId="{589BADEE-5303-4BAB-8A3C-185AB1A6D64C}" type="parTrans" cxnId="{4B3671A4-BCF2-40E4-8AA1-993C2CB18FC9}">
      <dgm:prSet/>
      <dgm:spPr/>
      <dgm:t>
        <a:bodyPr/>
        <a:lstStyle/>
        <a:p>
          <a:endParaRPr lang="nb-NO"/>
        </a:p>
      </dgm:t>
    </dgm:pt>
    <dgm:pt modelId="{B3FAD07B-BAF6-44D1-B2F5-4CE28F7178C6}" type="sibTrans" cxnId="{4B3671A4-BCF2-40E4-8AA1-993C2CB18FC9}">
      <dgm:prSet/>
      <dgm:spPr/>
      <dgm:t>
        <a:bodyPr/>
        <a:lstStyle/>
        <a:p>
          <a:endParaRPr lang="nb-NO"/>
        </a:p>
      </dgm:t>
    </dgm:pt>
    <dgm:pt modelId="{9BA205BE-8BE5-4353-83DE-3DA6A5DBF6A3}">
      <dgm:prSet phldrT="[Text]"/>
      <dgm:spPr/>
      <dgm:t>
        <a:bodyPr/>
        <a:lstStyle/>
        <a:p>
          <a:r>
            <a:rPr lang="nb-NO"/>
            <a:t>NTNU Kurs for </a:t>
          </a:r>
          <a:r>
            <a:rPr lang="nb-NO" err="1"/>
            <a:t>Btb</a:t>
          </a:r>
          <a:r>
            <a:rPr lang="nb-NO"/>
            <a:t>-prosessen</a:t>
          </a:r>
          <a:r>
            <a:rPr lang="nb-NO" baseline="30000"/>
            <a:t>**)</a:t>
          </a:r>
          <a:endParaRPr lang="nb-NO"/>
        </a:p>
      </dgm:t>
    </dgm:pt>
    <dgm:pt modelId="{72B73E54-4FA0-4C60-B017-0BAB4680E019}" type="parTrans" cxnId="{4AF23715-BD07-4A2A-BE88-0242D257D0A0}">
      <dgm:prSet/>
      <dgm:spPr/>
      <dgm:t>
        <a:bodyPr/>
        <a:lstStyle/>
        <a:p>
          <a:endParaRPr lang="nb-NO"/>
        </a:p>
      </dgm:t>
    </dgm:pt>
    <dgm:pt modelId="{57160F80-B72D-434A-8642-D5D30D90A715}" type="sibTrans" cxnId="{4AF23715-BD07-4A2A-BE88-0242D257D0A0}">
      <dgm:prSet/>
      <dgm:spPr/>
      <dgm:t>
        <a:bodyPr/>
        <a:lstStyle/>
        <a:p>
          <a:endParaRPr lang="nb-NO"/>
        </a:p>
      </dgm:t>
    </dgm:pt>
    <dgm:pt modelId="{3C97B021-A539-49AB-8443-B7262B118710}">
      <dgm:prSet phldrT="[Text]"/>
      <dgm:spPr/>
      <dgm:t>
        <a:bodyPr/>
        <a:lstStyle/>
        <a:p>
          <a:r>
            <a:rPr lang="nb-NO"/>
            <a:t>Lokal oppfølging og opplæring</a:t>
          </a:r>
        </a:p>
      </dgm:t>
    </dgm:pt>
    <dgm:pt modelId="{7C0D9A85-E821-4812-8166-0AED1E418D67}" type="parTrans" cxnId="{ED41F025-20FE-401B-82CF-EC7A78903AF7}">
      <dgm:prSet/>
      <dgm:spPr/>
      <dgm:t>
        <a:bodyPr/>
        <a:lstStyle/>
        <a:p>
          <a:endParaRPr lang="nb-NO"/>
        </a:p>
      </dgm:t>
    </dgm:pt>
    <dgm:pt modelId="{9D1635B1-7D5B-40EE-93F6-5ADF8166B87E}" type="sibTrans" cxnId="{ED41F025-20FE-401B-82CF-EC7A78903AF7}">
      <dgm:prSet/>
      <dgm:spPr/>
      <dgm:t>
        <a:bodyPr/>
        <a:lstStyle/>
        <a:p>
          <a:endParaRPr lang="nb-NO"/>
        </a:p>
      </dgm:t>
    </dgm:pt>
    <dgm:pt modelId="{C3705A2A-2BA0-4604-91E0-8201F767BE82}">
      <dgm:prSet phldrT="[Text]"/>
      <dgm:spPr/>
      <dgm:t>
        <a:bodyPr/>
        <a:lstStyle/>
        <a:p>
          <a:r>
            <a:rPr lang="nb-NO"/>
            <a:t>DFØ Systemkurs 2:  Inngående faktura - trykkekurs</a:t>
          </a:r>
        </a:p>
      </dgm:t>
    </dgm:pt>
    <dgm:pt modelId="{35A88541-9376-40FA-804D-20BC7203248F}" type="parTrans" cxnId="{985C16BF-012E-436B-A5EA-3B035036EAFE}">
      <dgm:prSet/>
      <dgm:spPr/>
      <dgm:t>
        <a:bodyPr/>
        <a:lstStyle/>
        <a:p>
          <a:endParaRPr lang="nb-NO"/>
        </a:p>
      </dgm:t>
    </dgm:pt>
    <dgm:pt modelId="{D700AF71-BE45-453E-89BE-7658705B0AE8}" type="sibTrans" cxnId="{985C16BF-012E-436B-A5EA-3B035036EAFE}">
      <dgm:prSet/>
      <dgm:spPr/>
      <dgm:t>
        <a:bodyPr/>
        <a:lstStyle/>
        <a:p>
          <a:endParaRPr lang="nb-NO"/>
        </a:p>
      </dgm:t>
    </dgm:pt>
    <dgm:pt modelId="{967CD0FE-8644-48EB-BD7D-7BECA636287F}">
      <dgm:prSet phldrT="[Text]"/>
      <dgm:spPr/>
      <dgm:t>
        <a:bodyPr/>
        <a:lstStyle/>
        <a:p>
          <a:r>
            <a:rPr lang="nb-NO"/>
            <a:t>DFØ Systemkurs1: Innkjøpsforespørsel - trykkekurs</a:t>
          </a:r>
        </a:p>
      </dgm:t>
    </dgm:pt>
    <dgm:pt modelId="{15CE3F1B-B444-490E-8B30-83F499AD4E79}" type="parTrans" cxnId="{25A991E1-CEBF-4D28-971B-09567B268621}">
      <dgm:prSet/>
      <dgm:spPr/>
      <dgm:t>
        <a:bodyPr/>
        <a:lstStyle/>
        <a:p>
          <a:endParaRPr lang="nb-NO"/>
        </a:p>
      </dgm:t>
    </dgm:pt>
    <dgm:pt modelId="{9A2BD18A-294D-4DF9-807E-DD75566B2422}" type="sibTrans" cxnId="{25A991E1-CEBF-4D28-971B-09567B268621}">
      <dgm:prSet/>
      <dgm:spPr/>
      <dgm:t>
        <a:bodyPr/>
        <a:lstStyle/>
        <a:p>
          <a:endParaRPr lang="nb-NO"/>
        </a:p>
      </dgm:t>
    </dgm:pt>
    <dgm:pt modelId="{F78F87B9-7203-4AAA-8554-430C41CCE03A}">
      <dgm:prSet phldrT="[Text]"/>
      <dgm:spPr/>
      <dgm:t>
        <a:bodyPr/>
        <a:lstStyle/>
        <a:p>
          <a:r>
            <a:rPr lang="nb-NO"/>
            <a:t>DFØ Systemkurs – Innkjøpsforespørsel for fagrekvirenter</a:t>
          </a:r>
        </a:p>
      </dgm:t>
    </dgm:pt>
    <dgm:pt modelId="{ED44D8AD-AB10-471E-AE1A-6D2F18BE2EA2}" type="parTrans" cxnId="{3DB48290-E45B-46A2-A1E9-C55DFE077766}">
      <dgm:prSet/>
      <dgm:spPr/>
      <dgm:t>
        <a:bodyPr/>
        <a:lstStyle/>
        <a:p>
          <a:endParaRPr lang="nb-NO"/>
        </a:p>
      </dgm:t>
    </dgm:pt>
    <dgm:pt modelId="{20A609DE-3F23-4C83-B9DC-8E6859EE49B9}" type="sibTrans" cxnId="{3DB48290-E45B-46A2-A1E9-C55DFE077766}">
      <dgm:prSet/>
      <dgm:spPr/>
      <dgm:t>
        <a:bodyPr/>
        <a:lstStyle/>
        <a:p>
          <a:endParaRPr lang="nb-NO"/>
        </a:p>
      </dgm:t>
    </dgm:pt>
    <dgm:pt modelId="{CE4D7BA0-8D84-41DA-B472-546F93B3AF4F}">
      <dgm:prSet phldrT="[Text]"/>
      <dgm:spPr/>
      <dgm:t>
        <a:bodyPr/>
        <a:lstStyle/>
        <a:p>
          <a:r>
            <a:rPr lang="nb-NO"/>
            <a:t>NTNU Kurs for </a:t>
          </a:r>
          <a:r>
            <a:rPr lang="nb-NO" err="1"/>
            <a:t>Btb</a:t>
          </a:r>
          <a:r>
            <a:rPr lang="nb-NO"/>
            <a:t>-prosessen</a:t>
          </a:r>
          <a:r>
            <a:rPr lang="nb-NO" baseline="30000"/>
            <a:t>**)</a:t>
          </a:r>
          <a:endParaRPr lang="nb-NO"/>
        </a:p>
      </dgm:t>
    </dgm:pt>
    <dgm:pt modelId="{861B59AD-1E1A-4D30-81F3-3EED8EC16257}" type="parTrans" cxnId="{2BE7259C-9308-4D6F-814E-0B5AD90478A8}">
      <dgm:prSet/>
      <dgm:spPr/>
      <dgm:t>
        <a:bodyPr/>
        <a:lstStyle/>
        <a:p>
          <a:endParaRPr lang="nb-NO"/>
        </a:p>
      </dgm:t>
    </dgm:pt>
    <dgm:pt modelId="{AD5E2A63-B051-4B0B-87E3-95CD1B371D07}" type="sibTrans" cxnId="{2BE7259C-9308-4D6F-814E-0B5AD90478A8}">
      <dgm:prSet/>
      <dgm:spPr/>
      <dgm:t>
        <a:bodyPr/>
        <a:lstStyle/>
        <a:p>
          <a:endParaRPr lang="nb-NO"/>
        </a:p>
      </dgm:t>
    </dgm:pt>
    <dgm:pt modelId="{4EEC744F-173E-4332-90DD-1C77106769F1}">
      <dgm:prSet phldrT="[Text]"/>
      <dgm:spPr/>
      <dgm:t>
        <a:bodyPr/>
        <a:lstStyle/>
        <a:p>
          <a:r>
            <a:rPr lang="nb-NO"/>
            <a:t>Egenlæring</a:t>
          </a:r>
          <a:r>
            <a:rPr lang="nb-NO" baseline="30000"/>
            <a:t>*)</a:t>
          </a:r>
          <a:endParaRPr lang="nb-NO"/>
        </a:p>
      </dgm:t>
    </dgm:pt>
    <dgm:pt modelId="{2CE4128F-FEE7-4317-AC28-DD240935DE28}" type="parTrans" cxnId="{95EAB418-3953-42F7-B244-1D1168FBB06D}">
      <dgm:prSet/>
      <dgm:spPr/>
      <dgm:t>
        <a:bodyPr/>
        <a:lstStyle/>
        <a:p>
          <a:endParaRPr lang="nb-NO"/>
        </a:p>
      </dgm:t>
    </dgm:pt>
    <dgm:pt modelId="{1F3DDE79-61C6-4DC4-BD8E-9994295861A3}" type="sibTrans" cxnId="{95EAB418-3953-42F7-B244-1D1168FBB06D}">
      <dgm:prSet/>
      <dgm:spPr/>
      <dgm:t>
        <a:bodyPr/>
        <a:lstStyle/>
        <a:p>
          <a:endParaRPr lang="nb-NO"/>
        </a:p>
      </dgm:t>
    </dgm:pt>
    <dgm:pt modelId="{C758D954-AE8C-4F27-8EA9-53EDBB1B2C66}">
      <dgm:prSet phldrT="[Text]"/>
      <dgm:spPr/>
      <dgm:t>
        <a:bodyPr/>
        <a:lstStyle/>
        <a:p>
          <a:r>
            <a:rPr lang="nb-NO"/>
            <a:t>Egenlæring</a:t>
          </a:r>
          <a:r>
            <a:rPr lang="nb-NO" baseline="30000"/>
            <a:t>*)</a:t>
          </a:r>
          <a:endParaRPr lang="nb-NO"/>
        </a:p>
      </dgm:t>
    </dgm:pt>
    <dgm:pt modelId="{054D1BA9-DE94-4508-BEAC-F0E6DF8FEF2E}" type="parTrans" cxnId="{D3BFBF8B-293C-46C2-B4A6-57128225DA68}">
      <dgm:prSet/>
      <dgm:spPr/>
      <dgm:t>
        <a:bodyPr/>
        <a:lstStyle/>
        <a:p>
          <a:endParaRPr lang="nb-NO"/>
        </a:p>
      </dgm:t>
    </dgm:pt>
    <dgm:pt modelId="{3B0917D8-D58D-41B8-A790-F96AF7F668F3}" type="sibTrans" cxnId="{D3BFBF8B-293C-46C2-B4A6-57128225DA68}">
      <dgm:prSet/>
      <dgm:spPr/>
      <dgm:t>
        <a:bodyPr/>
        <a:lstStyle/>
        <a:p>
          <a:endParaRPr lang="nb-NO"/>
        </a:p>
      </dgm:t>
    </dgm:pt>
    <dgm:pt modelId="{C31E4E60-2D5E-4270-BAEC-1CB06329C857}">
      <dgm:prSet phldrT="[Text]"/>
      <dgm:spPr/>
      <dgm:t>
        <a:bodyPr/>
        <a:lstStyle/>
        <a:p>
          <a:r>
            <a:rPr lang="nb-NO"/>
            <a:t>Etablere kompetansenettverk for rollen</a:t>
          </a:r>
        </a:p>
      </dgm:t>
    </dgm:pt>
    <dgm:pt modelId="{4041FBDE-FA41-4113-B26D-359B5256A3BB}" type="parTrans" cxnId="{AC3625EA-D002-4E07-A95E-861F8B0498D8}">
      <dgm:prSet/>
      <dgm:spPr/>
      <dgm:t>
        <a:bodyPr/>
        <a:lstStyle/>
        <a:p>
          <a:endParaRPr lang="nb-NO"/>
        </a:p>
      </dgm:t>
    </dgm:pt>
    <dgm:pt modelId="{87D179FD-B84F-4464-A9FD-6DCD0890F6B3}" type="sibTrans" cxnId="{AC3625EA-D002-4E07-A95E-861F8B0498D8}">
      <dgm:prSet/>
      <dgm:spPr/>
      <dgm:t>
        <a:bodyPr/>
        <a:lstStyle/>
        <a:p>
          <a:endParaRPr lang="nb-NO"/>
        </a:p>
      </dgm:t>
    </dgm:pt>
    <dgm:pt modelId="{EE490709-9FF3-41BD-92E4-E0E4236A61EA}" type="pres">
      <dgm:prSet presAssocID="{A8F44B10-7FF8-45EC-8D25-CDB3615F1B86}" presName="linear" presStyleCnt="0">
        <dgm:presLayoutVars>
          <dgm:dir/>
          <dgm:animLvl val="lvl"/>
          <dgm:resizeHandles val="exact"/>
        </dgm:presLayoutVars>
      </dgm:prSet>
      <dgm:spPr/>
    </dgm:pt>
    <dgm:pt modelId="{5B27B98C-60CD-486B-9735-311493FE7A5E}" type="pres">
      <dgm:prSet presAssocID="{1D643BA1-E85E-471E-9CCA-1382D82827BF}" presName="parentLin" presStyleCnt="0"/>
      <dgm:spPr/>
    </dgm:pt>
    <dgm:pt modelId="{EBB3B556-123D-439B-BFAC-E292467A8CCB}" type="pres">
      <dgm:prSet presAssocID="{1D643BA1-E85E-471E-9CCA-1382D82827BF}" presName="parentLeftMargin" presStyleLbl="node1" presStyleIdx="0" presStyleCnt="2"/>
      <dgm:spPr/>
    </dgm:pt>
    <dgm:pt modelId="{42A653AE-9379-483F-9C0D-FB422368ECBA}" type="pres">
      <dgm:prSet presAssocID="{1D643BA1-E85E-471E-9CCA-1382D82827BF}" presName="parentText" presStyleLbl="node1" presStyleIdx="0" presStyleCnt="2" custLinFactNeighborX="-2925" custLinFactNeighborY="-3167">
        <dgm:presLayoutVars>
          <dgm:chMax val="0"/>
          <dgm:bulletEnabled val="1"/>
        </dgm:presLayoutVars>
      </dgm:prSet>
      <dgm:spPr/>
    </dgm:pt>
    <dgm:pt modelId="{82C9E473-6AEC-4531-A098-7EE00274D69D}" type="pres">
      <dgm:prSet presAssocID="{1D643BA1-E85E-471E-9CCA-1382D82827BF}" presName="negativeSpace" presStyleCnt="0"/>
      <dgm:spPr/>
    </dgm:pt>
    <dgm:pt modelId="{0AF1DB65-7714-4C55-8A72-4F0BEDFFC536}" type="pres">
      <dgm:prSet presAssocID="{1D643BA1-E85E-471E-9CCA-1382D82827BF}" presName="childText" presStyleLbl="conFgAcc1" presStyleIdx="0" presStyleCnt="2" custLinFactNeighborX="1663" custLinFactNeighborY="68006">
        <dgm:presLayoutVars>
          <dgm:bulletEnabled val="1"/>
        </dgm:presLayoutVars>
      </dgm:prSet>
      <dgm:spPr/>
    </dgm:pt>
    <dgm:pt modelId="{78EA250A-F1E6-4E49-B096-CF8B683A9364}" type="pres">
      <dgm:prSet presAssocID="{C2AAEDDA-56F4-4792-9965-6144DBBE6777}" presName="spaceBetweenRectangles" presStyleCnt="0"/>
      <dgm:spPr/>
    </dgm:pt>
    <dgm:pt modelId="{F2ABE0B9-E754-4359-B903-8E4D8569B5A9}" type="pres">
      <dgm:prSet presAssocID="{CAF4A744-3813-44F8-82E7-7B680A513909}" presName="parentLin" presStyleCnt="0"/>
      <dgm:spPr/>
    </dgm:pt>
    <dgm:pt modelId="{462FA903-B0A3-4272-B492-E0B11174131D}" type="pres">
      <dgm:prSet presAssocID="{CAF4A744-3813-44F8-82E7-7B680A513909}" presName="parentLeftMargin" presStyleLbl="node1" presStyleIdx="0" presStyleCnt="2"/>
      <dgm:spPr/>
    </dgm:pt>
    <dgm:pt modelId="{6042C111-C4EF-48DB-9B82-B75F03DF710E}" type="pres">
      <dgm:prSet presAssocID="{CAF4A744-3813-44F8-82E7-7B680A513909}" presName="parentText" presStyleLbl="node1" presStyleIdx="1" presStyleCnt="2">
        <dgm:presLayoutVars>
          <dgm:chMax val="0"/>
          <dgm:bulletEnabled val="1"/>
        </dgm:presLayoutVars>
      </dgm:prSet>
      <dgm:spPr/>
    </dgm:pt>
    <dgm:pt modelId="{118C8E3D-670B-4853-A6C1-A981D067FBEE}" type="pres">
      <dgm:prSet presAssocID="{CAF4A744-3813-44F8-82E7-7B680A513909}" presName="negativeSpace" presStyleCnt="0"/>
      <dgm:spPr/>
    </dgm:pt>
    <dgm:pt modelId="{18E9B6D3-DA2A-4BD4-8281-94CCC9CDF175}" type="pres">
      <dgm:prSet presAssocID="{CAF4A744-3813-44F8-82E7-7B680A513909}" presName="childText" presStyleLbl="conFgAcc1" presStyleIdx="1" presStyleCnt="2" custLinFactNeighborX="-5499">
        <dgm:presLayoutVars>
          <dgm:bulletEnabled val="1"/>
        </dgm:presLayoutVars>
      </dgm:prSet>
      <dgm:spPr/>
    </dgm:pt>
  </dgm:ptLst>
  <dgm:cxnLst>
    <dgm:cxn modelId="{FB2EF811-551E-48B1-8242-5623E6289232}" type="presOf" srcId="{967CD0FE-8644-48EB-BD7D-7BECA636287F}" destId="{0AF1DB65-7714-4C55-8A72-4F0BEDFFC536}" srcOrd="0" destOrd="2" presId="urn:microsoft.com/office/officeart/2005/8/layout/list1"/>
    <dgm:cxn modelId="{4AF23715-BD07-4A2A-BE88-0242D257D0A0}" srcId="{CAF4A744-3813-44F8-82E7-7B680A513909}" destId="{9BA205BE-8BE5-4353-83DE-3DA6A5DBF6A3}" srcOrd="0" destOrd="0" parTransId="{72B73E54-4FA0-4C60-B017-0BAB4680E019}" sibTransId="{57160F80-B72D-434A-8642-D5D30D90A715}"/>
    <dgm:cxn modelId="{95EAB418-3953-42F7-B244-1D1168FBB06D}" srcId="{1D643BA1-E85E-471E-9CCA-1382D82827BF}" destId="{4EEC744F-173E-4332-90DD-1C77106769F1}" srcOrd="1" destOrd="0" parTransId="{2CE4128F-FEE7-4317-AC28-DD240935DE28}" sibTransId="{1F3DDE79-61C6-4DC4-BD8E-9994295861A3}"/>
    <dgm:cxn modelId="{6E380A1A-F15E-4AD3-B302-A960F452ACD2}" type="presOf" srcId="{F78F87B9-7203-4AAA-8554-430C41CCE03A}" destId="{18E9B6D3-DA2A-4BD4-8281-94CCC9CDF175}" srcOrd="0" destOrd="2" presId="urn:microsoft.com/office/officeart/2005/8/layout/list1"/>
    <dgm:cxn modelId="{80A6E51F-2A68-42EF-AFBB-E903E8E6229C}" type="presOf" srcId="{A8F44B10-7FF8-45EC-8D25-CDB3615F1B86}" destId="{EE490709-9FF3-41BD-92E4-E0E4236A61EA}" srcOrd="0" destOrd="0" presId="urn:microsoft.com/office/officeart/2005/8/layout/list1"/>
    <dgm:cxn modelId="{ED41F025-20FE-401B-82CF-EC7A78903AF7}" srcId="{CAF4A744-3813-44F8-82E7-7B680A513909}" destId="{3C97B021-A539-49AB-8443-B7262B118710}" srcOrd="3" destOrd="0" parTransId="{7C0D9A85-E821-4812-8166-0AED1E418D67}" sibTransId="{9D1635B1-7D5B-40EE-93F6-5ADF8166B87E}"/>
    <dgm:cxn modelId="{53AAB863-595B-457B-8772-E67BC41C8ED4}" type="presOf" srcId="{1D643BA1-E85E-471E-9CCA-1382D82827BF}" destId="{42A653AE-9379-483F-9C0D-FB422368ECBA}" srcOrd="1" destOrd="0" presId="urn:microsoft.com/office/officeart/2005/8/layout/list1"/>
    <dgm:cxn modelId="{D47FF564-88DE-429D-B254-77DCC3C7BA1B}" type="presOf" srcId="{3C97B021-A539-49AB-8443-B7262B118710}" destId="{18E9B6D3-DA2A-4BD4-8281-94CCC9CDF175}" srcOrd="0" destOrd="3" presId="urn:microsoft.com/office/officeart/2005/8/layout/list1"/>
    <dgm:cxn modelId="{644B8872-47CF-4EDC-A365-954AB5B55947}" type="presOf" srcId="{C758D954-AE8C-4F27-8EA9-53EDBB1B2C66}" destId="{18E9B6D3-DA2A-4BD4-8281-94CCC9CDF175}" srcOrd="0" destOrd="1" presId="urn:microsoft.com/office/officeart/2005/8/layout/list1"/>
    <dgm:cxn modelId="{4A6BCF56-F141-408B-8EAF-0CFA84B75094}" type="presOf" srcId="{4EEC744F-173E-4332-90DD-1C77106769F1}" destId="{0AF1DB65-7714-4C55-8A72-4F0BEDFFC536}" srcOrd="0" destOrd="1" presId="urn:microsoft.com/office/officeart/2005/8/layout/list1"/>
    <dgm:cxn modelId="{7CA5EE7F-5850-41B3-97AC-E924315F8495}" srcId="{A8F44B10-7FF8-45EC-8D25-CDB3615F1B86}" destId="{1D643BA1-E85E-471E-9CCA-1382D82827BF}" srcOrd="0" destOrd="0" parTransId="{1626D27F-838B-4C30-A2A9-4AC0A17C1C7A}" sibTransId="{C2AAEDDA-56F4-4792-9965-6144DBBE6777}"/>
    <dgm:cxn modelId="{D3BFBF8B-293C-46C2-B4A6-57128225DA68}" srcId="{CAF4A744-3813-44F8-82E7-7B680A513909}" destId="{C758D954-AE8C-4F27-8EA9-53EDBB1B2C66}" srcOrd="1" destOrd="0" parTransId="{054D1BA9-DE94-4508-BEAC-F0E6DF8FEF2E}" sibTransId="{3B0917D8-D58D-41B8-A790-F96AF7F668F3}"/>
    <dgm:cxn modelId="{3DB48290-E45B-46A2-A1E9-C55DFE077766}" srcId="{CAF4A744-3813-44F8-82E7-7B680A513909}" destId="{F78F87B9-7203-4AAA-8554-430C41CCE03A}" srcOrd="2" destOrd="0" parTransId="{ED44D8AD-AB10-471E-AE1A-6D2F18BE2EA2}" sibTransId="{20A609DE-3F23-4C83-B9DC-8E6859EE49B9}"/>
    <dgm:cxn modelId="{2BE7259C-9308-4D6F-814E-0B5AD90478A8}" srcId="{1D643BA1-E85E-471E-9CCA-1382D82827BF}" destId="{CE4D7BA0-8D84-41DA-B472-546F93B3AF4F}" srcOrd="0" destOrd="0" parTransId="{861B59AD-1E1A-4D30-81F3-3EED8EC16257}" sibTransId="{AD5E2A63-B051-4B0B-87E3-95CD1B371D07}"/>
    <dgm:cxn modelId="{4B3671A4-BCF2-40E4-8AA1-993C2CB18FC9}" srcId="{A8F44B10-7FF8-45EC-8D25-CDB3615F1B86}" destId="{CAF4A744-3813-44F8-82E7-7B680A513909}" srcOrd="1" destOrd="0" parTransId="{589BADEE-5303-4BAB-8A3C-185AB1A6D64C}" sibTransId="{B3FAD07B-BAF6-44D1-B2F5-4CE28F7178C6}"/>
    <dgm:cxn modelId="{717424AC-D8D8-473B-ADFF-0ADD5B19D410}" type="presOf" srcId="{1D643BA1-E85E-471E-9CCA-1382D82827BF}" destId="{EBB3B556-123D-439B-BFAC-E292467A8CCB}" srcOrd="0" destOrd="0" presId="urn:microsoft.com/office/officeart/2005/8/layout/list1"/>
    <dgm:cxn modelId="{32678BAF-7E60-40E0-A625-1E39AE8D1EAB}" type="presOf" srcId="{CAF4A744-3813-44F8-82E7-7B680A513909}" destId="{6042C111-C4EF-48DB-9B82-B75F03DF710E}" srcOrd="1" destOrd="0" presId="urn:microsoft.com/office/officeart/2005/8/layout/list1"/>
    <dgm:cxn modelId="{985C16BF-012E-436B-A5EA-3B035036EAFE}" srcId="{1D643BA1-E85E-471E-9CCA-1382D82827BF}" destId="{C3705A2A-2BA0-4604-91E0-8201F767BE82}" srcOrd="3" destOrd="0" parTransId="{35A88541-9376-40FA-804D-20BC7203248F}" sibTransId="{D700AF71-BE45-453E-89BE-7658705B0AE8}"/>
    <dgm:cxn modelId="{840919C0-453A-42D8-9722-A257A82DC3AF}" type="presOf" srcId="{9BA205BE-8BE5-4353-83DE-3DA6A5DBF6A3}" destId="{18E9B6D3-DA2A-4BD4-8281-94CCC9CDF175}" srcOrd="0" destOrd="0" presId="urn:microsoft.com/office/officeart/2005/8/layout/list1"/>
    <dgm:cxn modelId="{D630EACD-7D41-448C-B7ED-7EA67F842BB7}" type="presOf" srcId="{CE4D7BA0-8D84-41DA-B472-546F93B3AF4F}" destId="{0AF1DB65-7714-4C55-8A72-4F0BEDFFC536}" srcOrd="0" destOrd="0" presId="urn:microsoft.com/office/officeart/2005/8/layout/list1"/>
    <dgm:cxn modelId="{2BB48ED7-7179-4716-B62F-C958D9DBD83E}" type="presOf" srcId="{CAF4A744-3813-44F8-82E7-7B680A513909}" destId="{462FA903-B0A3-4272-B492-E0B11174131D}" srcOrd="0" destOrd="0" presId="urn:microsoft.com/office/officeart/2005/8/layout/list1"/>
    <dgm:cxn modelId="{011092DC-0F9D-47D1-8D6D-E8908F825F97}" type="presOf" srcId="{C31E4E60-2D5E-4270-BAEC-1CB06329C857}" destId="{0AF1DB65-7714-4C55-8A72-4F0BEDFFC536}" srcOrd="0" destOrd="4" presId="urn:microsoft.com/office/officeart/2005/8/layout/list1"/>
    <dgm:cxn modelId="{16B8D2E0-837D-4797-9D56-2C8D6B0932F7}" type="presOf" srcId="{C3705A2A-2BA0-4604-91E0-8201F767BE82}" destId="{0AF1DB65-7714-4C55-8A72-4F0BEDFFC536}" srcOrd="0" destOrd="3" presId="urn:microsoft.com/office/officeart/2005/8/layout/list1"/>
    <dgm:cxn modelId="{25A991E1-CEBF-4D28-971B-09567B268621}" srcId="{1D643BA1-E85E-471E-9CCA-1382D82827BF}" destId="{967CD0FE-8644-48EB-BD7D-7BECA636287F}" srcOrd="2" destOrd="0" parTransId="{15CE3F1B-B444-490E-8B30-83F499AD4E79}" sibTransId="{9A2BD18A-294D-4DF9-807E-DD75566B2422}"/>
    <dgm:cxn modelId="{AC3625EA-D002-4E07-A95E-861F8B0498D8}" srcId="{1D643BA1-E85E-471E-9CCA-1382D82827BF}" destId="{C31E4E60-2D5E-4270-BAEC-1CB06329C857}" srcOrd="4" destOrd="0" parTransId="{4041FBDE-FA41-4113-B26D-359B5256A3BB}" sibTransId="{87D179FD-B84F-4464-A9FD-6DCD0890F6B3}"/>
    <dgm:cxn modelId="{DECA45C1-2AA2-4768-8D63-092F839396CE}" type="presParOf" srcId="{EE490709-9FF3-41BD-92E4-E0E4236A61EA}" destId="{5B27B98C-60CD-486B-9735-311493FE7A5E}" srcOrd="0" destOrd="0" presId="urn:microsoft.com/office/officeart/2005/8/layout/list1"/>
    <dgm:cxn modelId="{D93D949F-52AD-4193-9AC3-DACE6B54BCA5}" type="presParOf" srcId="{5B27B98C-60CD-486B-9735-311493FE7A5E}" destId="{EBB3B556-123D-439B-BFAC-E292467A8CCB}" srcOrd="0" destOrd="0" presId="urn:microsoft.com/office/officeart/2005/8/layout/list1"/>
    <dgm:cxn modelId="{B24FA3D6-CE93-4DA1-8726-7D98B6878984}" type="presParOf" srcId="{5B27B98C-60CD-486B-9735-311493FE7A5E}" destId="{42A653AE-9379-483F-9C0D-FB422368ECBA}" srcOrd="1" destOrd="0" presId="urn:microsoft.com/office/officeart/2005/8/layout/list1"/>
    <dgm:cxn modelId="{C9B513FC-6710-48E7-82CA-A7C598334F9C}" type="presParOf" srcId="{EE490709-9FF3-41BD-92E4-E0E4236A61EA}" destId="{82C9E473-6AEC-4531-A098-7EE00274D69D}" srcOrd="1" destOrd="0" presId="urn:microsoft.com/office/officeart/2005/8/layout/list1"/>
    <dgm:cxn modelId="{F9C3AF50-4FF0-491E-AC29-49A77110E2E0}" type="presParOf" srcId="{EE490709-9FF3-41BD-92E4-E0E4236A61EA}" destId="{0AF1DB65-7714-4C55-8A72-4F0BEDFFC536}" srcOrd="2" destOrd="0" presId="urn:microsoft.com/office/officeart/2005/8/layout/list1"/>
    <dgm:cxn modelId="{B13FDFEE-08D7-4ED4-9616-2F9424A25C0F}" type="presParOf" srcId="{EE490709-9FF3-41BD-92E4-E0E4236A61EA}" destId="{78EA250A-F1E6-4E49-B096-CF8B683A9364}" srcOrd="3" destOrd="0" presId="urn:microsoft.com/office/officeart/2005/8/layout/list1"/>
    <dgm:cxn modelId="{F825D698-DE24-4164-9793-4DC8B62627A7}" type="presParOf" srcId="{EE490709-9FF3-41BD-92E4-E0E4236A61EA}" destId="{F2ABE0B9-E754-4359-B903-8E4D8569B5A9}" srcOrd="4" destOrd="0" presId="urn:microsoft.com/office/officeart/2005/8/layout/list1"/>
    <dgm:cxn modelId="{76F284DB-9D9F-4C93-A8BC-1F03E985E9FB}" type="presParOf" srcId="{F2ABE0B9-E754-4359-B903-8E4D8569B5A9}" destId="{462FA903-B0A3-4272-B492-E0B11174131D}" srcOrd="0" destOrd="0" presId="urn:microsoft.com/office/officeart/2005/8/layout/list1"/>
    <dgm:cxn modelId="{5D52E8B8-CE6B-4909-90CD-21BF4EC01386}" type="presParOf" srcId="{F2ABE0B9-E754-4359-B903-8E4D8569B5A9}" destId="{6042C111-C4EF-48DB-9B82-B75F03DF710E}" srcOrd="1" destOrd="0" presId="urn:microsoft.com/office/officeart/2005/8/layout/list1"/>
    <dgm:cxn modelId="{997C0799-D2AE-4C9C-9A64-DA9496F512CC}" type="presParOf" srcId="{EE490709-9FF3-41BD-92E4-E0E4236A61EA}" destId="{118C8E3D-670B-4853-A6C1-A981D067FBEE}" srcOrd="5" destOrd="0" presId="urn:microsoft.com/office/officeart/2005/8/layout/list1"/>
    <dgm:cxn modelId="{F69AD88F-6A70-458C-99F6-68EC07BAC49D}" type="presParOf" srcId="{EE490709-9FF3-41BD-92E4-E0E4236A61EA}" destId="{18E9B6D3-DA2A-4BD4-8281-94CCC9CDF175}" srcOrd="6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2F94F8AA-E008-4EFE-9AC1-AABB602556E3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nb-NO"/>
        </a:p>
      </dgm:t>
    </dgm:pt>
    <dgm:pt modelId="{12BBA2F0-B8ED-4411-B54B-22D5899E4028}">
      <dgm:prSet phldrT="[Text]" custT="1"/>
      <dgm:spPr/>
      <dgm:t>
        <a:bodyPr/>
        <a:lstStyle/>
        <a:p>
          <a:r>
            <a:rPr lang="nb-NO" sz="1400"/>
            <a:t>Innkjøpere – </a:t>
          </a:r>
          <a:r>
            <a:rPr lang="nb-NO" sz="1400" b="1"/>
            <a:t>fysiske</a:t>
          </a:r>
          <a:r>
            <a:rPr lang="nb-NO" sz="1400"/>
            <a:t> kurs i Trondheim (3 alternative datoer)</a:t>
          </a:r>
        </a:p>
        <a:p>
          <a:r>
            <a:rPr lang="nb-NO" sz="1400"/>
            <a:t>Fagrekvirent – Digitalt kurs (3 alternative datoer) </a:t>
          </a:r>
        </a:p>
      </dgm:t>
    </dgm:pt>
    <dgm:pt modelId="{205EC97E-D891-4A75-B926-95285A863BD7}" type="parTrans" cxnId="{B8D9F1F9-C6D3-4DE0-B876-A27DF74C81CB}">
      <dgm:prSet/>
      <dgm:spPr/>
      <dgm:t>
        <a:bodyPr/>
        <a:lstStyle/>
        <a:p>
          <a:endParaRPr lang="nb-NO"/>
        </a:p>
      </dgm:t>
    </dgm:pt>
    <dgm:pt modelId="{DB500709-0816-477E-95CC-DB4B4AF48A79}" type="sibTrans" cxnId="{B8D9F1F9-C6D3-4DE0-B876-A27DF74C81CB}">
      <dgm:prSet/>
      <dgm:spPr/>
      <dgm:t>
        <a:bodyPr/>
        <a:lstStyle/>
        <a:p>
          <a:endParaRPr lang="nb-NO"/>
        </a:p>
      </dgm:t>
    </dgm:pt>
    <dgm:pt modelId="{AFCF822E-2DCC-40D3-8FBC-32F1B8852667}">
      <dgm:prSet phldrT="[Text]" custT="1"/>
      <dgm:spPr/>
      <dgm:t>
        <a:bodyPr/>
        <a:lstStyle/>
        <a:p>
          <a:r>
            <a:rPr lang="nb-NO" sz="1400"/>
            <a:t>Det sendes ut </a:t>
          </a:r>
          <a:r>
            <a:rPr lang="nb-NO" sz="1400" b="1"/>
            <a:t>kalenderinnkalling i Outlook </a:t>
          </a:r>
          <a:r>
            <a:rPr lang="nb-NO" sz="1400"/>
            <a:t>til alle kurs</a:t>
          </a:r>
        </a:p>
      </dgm:t>
    </dgm:pt>
    <dgm:pt modelId="{504CCEA1-2358-4218-AE52-2F38CCF26CA5}" type="parTrans" cxnId="{568E9300-FC87-4AF5-8342-ED5BD0F1FB51}">
      <dgm:prSet/>
      <dgm:spPr/>
      <dgm:t>
        <a:bodyPr/>
        <a:lstStyle/>
        <a:p>
          <a:endParaRPr lang="nb-NO"/>
        </a:p>
      </dgm:t>
    </dgm:pt>
    <dgm:pt modelId="{8BAF4F52-1871-4D57-8E42-AE61D8E45A81}" type="sibTrans" cxnId="{568E9300-FC87-4AF5-8342-ED5BD0F1FB51}">
      <dgm:prSet/>
      <dgm:spPr/>
      <dgm:t>
        <a:bodyPr/>
        <a:lstStyle/>
        <a:p>
          <a:endParaRPr lang="nb-NO"/>
        </a:p>
      </dgm:t>
    </dgm:pt>
    <dgm:pt modelId="{EB0E145B-615C-4744-A4FC-6EA922E2DBA7}">
      <dgm:prSet phldrT="[Text]" custT="1"/>
      <dgm:spPr/>
      <dgm:t>
        <a:bodyPr/>
        <a:lstStyle/>
        <a:p>
          <a:r>
            <a:rPr lang="nb-NO" sz="1400"/>
            <a:t>Kurs arrangert av DFØ har påmelding</a:t>
          </a:r>
        </a:p>
      </dgm:t>
    </dgm:pt>
    <dgm:pt modelId="{FC090970-668B-4367-A912-3D221D90F788}" type="parTrans" cxnId="{D757B212-CF2F-4ADD-8D1D-05DFCF6942C0}">
      <dgm:prSet/>
      <dgm:spPr/>
      <dgm:t>
        <a:bodyPr/>
        <a:lstStyle/>
        <a:p>
          <a:endParaRPr lang="nb-NO"/>
        </a:p>
      </dgm:t>
    </dgm:pt>
    <dgm:pt modelId="{54E5F7E6-D950-4F51-8B47-6E0B0532BFF2}" type="sibTrans" cxnId="{D757B212-CF2F-4ADD-8D1D-05DFCF6942C0}">
      <dgm:prSet/>
      <dgm:spPr/>
      <dgm:t>
        <a:bodyPr/>
        <a:lstStyle/>
        <a:p>
          <a:endParaRPr lang="nb-NO"/>
        </a:p>
      </dgm:t>
    </dgm:pt>
    <dgm:pt modelId="{9B5DF1A1-064D-4055-A178-E779027903F0}">
      <dgm:prSet phldrT="[Text]" custT="1"/>
      <dgm:spPr/>
      <dgm:t>
        <a:bodyPr/>
        <a:lstStyle/>
        <a:p>
          <a:r>
            <a:rPr lang="nb-NO" sz="1400"/>
            <a:t>Det vil være påmeldingslenke i kalenderinvitasjonen der det er aktuelt</a:t>
          </a:r>
        </a:p>
      </dgm:t>
    </dgm:pt>
    <dgm:pt modelId="{2F84C960-E81E-4685-9441-EF218B652B44}" type="sibTrans" cxnId="{EA3069AF-2A58-4199-A14F-E7CBEC83A3E3}">
      <dgm:prSet/>
      <dgm:spPr/>
      <dgm:t>
        <a:bodyPr/>
        <a:lstStyle/>
        <a:p>
          <a:endParaRPr lang="nb-NO"/>
        </a:p>
      </dgm:t>
    </dgm:pt>
    <dgm:pt modelId="{0EF9CA68-3F2F-4162-A228-EC633CC31CE8}" type="parTrans" cxnId="{EA3069AF-2A58-4199-A14F-E7CBEC83A3E3}">
      <dgm:prSet/>
      <dgm:spPr/>
      <dgm:t>
        <a:bodyPr/>
        <a:lstStyle/>
        <a:p>
          <a:endParaRPr lang="nb-NO"/>
        </a:p>
      </dgm:t>
    </dgm:pt>
    <dgm:pt modelId="{8E33B4AA-1F8B-4040-9E7C-D21736596130}">
      <dgm:prSet phldrT="[Text]" custT="1"/>
      <dgm:spPr/>
      <dgm:t>
        <a:bodyPr/>
        <a:lstStyle/>
        <a:p>
          <a:r>
            <a:rPr lang="nb-NO" sz="1400"/>
            <a:t>Det er viktig å huske å melde seg på kurset </a:t>
          </a:r>
        </a:p>
      </dgm:t>
    </dgm:pt>
    <dgm:pt modelId="{55D57AB5-527C-4C31-821A-E36422D9A6C3}" type="sibTrans" cxnId="{A0FEF59D-1197-4FC9-8B6B-2FA189BDADFB}">
      <dgm:prSet/>
      <dgm:spPr/>
      <dgm:t>
        <a:bodyPr/>
        <a:lstStyle/>
        <a:p>
          <a:endParaRPr lang="nb-NO"/>
        </a:p>
      </dgm:t>
    </dgm:pt>
    <dgm:pt modelId="{8238E7B6-FDC0-4BE6-AA8E-98DEFDD3B603}" type="parTrans" cxnId="{A0FEF59D-1197-4FC9-8B6B-2FA189BDADFB}">
      <dgm:prSet/>
      <dgm:spPr/>
      <dgm:t>
        <a:bodyPr/>
        <a:lstStyle/>
        <a:p>
          <a:endParaRPr lang="nb-NO"/>
        </a:p>
      </dgm:t>
    </dgm:pt>
    <dgm:pt modelId="{6095924E-7841-454C-B8E9-0B64B7D5FBC2}">
      <dgm:prSet custT="1"/>
      <dgm:spPr/>
      <dgm:t>
        <a:bodyPr/>
        <a:lstStyle/>
        <a:p>
          <a:r>
            <a:rPr lang="nb-NO" sz="1400"/>
            <a:t>Noen dager før kursstart vil alle som har meldt seg på kurset få påloggingslenke</a:t>
          </a:r>
          <a:endParaRPr lang="en-US" sz="1400"/>
        </a:p>
      </dgm:t>
    </dgm:pt>
    <dgm:pt modelId="{40DA5A8E-7BFA-4853-BD5E-42095C6366C4}" type="sibTrans" cxnId="{9F36F1CD-07D9-4C24-AC6E-130CF505ABA8}">
      <dgm:prSet/>
      <dgm:spPr/>
      <dgm:t>
        <a:bodyPr/>
        <a:lstStyle/>
        <a:p>
          <a:endParaRPr lang="nb-NO"/>
        </a:p>
      </dgm:t>
    </dgm:pt>
    <dgm:pt modelId="{79CE74E1-6544-450E-9460-8D76BFCFDA50}" type="parTrans" cxnId="{9F36F1CD-07D9-4C24-AC6E-130CF505ABA8}">
      <dgm:prSet/>
      <dgm:spPr/>
      <dgm:t>
        <a:bodyPr/>
        <a:lstStyle/>
        <a:p>
          <a:endParaRPr lang="nb-NO"/>
        </a:p>
      </dgm:t>
    </dgm:pt>
    <dgm:pt modelId="{1E3929B8-3EDA-441B-9F40-2C9928CDDE6B}">
      <dgm:prSet phldrT="[Text]" custT="1"/>
      <dgm:spPr/>
      <dgm:t>
        <a:bodyPr/>
        <a:lstStyle/>
        <a:p>
          <a:r>
            <a:rPr lang="nb-NO" sz="1400"/>
            <a:t>Du får innkalling i forhold til den rollen du skal ha</a:t>
          </a:r>
        </a:p>
      </dgm:t>
    </dgm:pt>
    <dgm:pt modelId="{F891072C-ECDE-4251-A9E8-A84744730B9B}" type="parTrans" cxnId="{A4824D48-1DDB-4069-B956-4AAC15C7DA36}">
      <dgm:prSet/>
      <dgm:spPr/>
      <dgm:t>
        <a:bodyPr/>
        <a:lstStyle/>
        <a:p>
          <a:endParaRPr lang="nb-NO"/>
        </a:p>
      </dgm:t>
    </dgm:pt>
    <dgm:pt modelId="{991AC1AB-B166-4401-B5A4-5329622D4169}" type="sibTrans" cxnId="{A4824D48-1DDB-4069-B956-4AAC15C7DA36}">
      <dgm:prSet/>
      <dgm:spPr/>
      <dgm:t>
        <a:bodyPr/>
        <a:lstStyle/>
        <a:p>
          <a:endParaRPr lang="nb-NO"/>
        </a:p>
      </dgm:t>
    </dgm:pt>
    <dgm:pt modelId="{94739FBE-4350-408D-B1B1-CE7A09FA8D78}" type="pres">
      <dgm:prSet presAssocID="{2F94F8AA-E008-4EFE-9AC1-AABB602556E3}" presName="linear" presStyleCnt="0">
        <dgm:presLayoutVars>
          <dgm:animLvl val="lvl"/>
          <dgm:resizeHandles val="exact"/>
        </dgm:presLayoutVars>
      </dgm:prSet>
      <dgm:spPr/>
    </dgm:pt>
    <dgm:pt modelId="{CB3581E3-CBF4-4C37-82D9-EC8AB0BAC01C}" type="pres">
      <dgm:prSet presAssocID="{12BBA2F0-B8ED-4411-B54B-22D5899E4028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967EC52C-3386-487A-BD08-AE746165D6FA}" type="pres">
      <dgm:prSet presAssocID="{DB500709-0816-477E-95CC-DB4B4AF48A79}" presName="spacer" presStyleCnt="0"/>
      <dgm:spPr/>
    </dgm:pt>
    <dgm:pt modelId="{D2724AE2-EB22-46F6-AACA-30DB703321F1}" type="pres">
      <dgm:prSet presAssocID="{AFCF822E-2DCC-40D3-8FBC-32F1B8852667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8DE30CD0-05CE-4086-A6CA-E914762407D1}" type="pres">
      <dgm:prSet presAssocID="{AFCF822E-2DCC-40D3-8FBC-32F1B8852667}" presName="childText" presStyleLbl="revTx" presStyleIdx="0" presStyleCnt="2">
        <dgm:presLayoutVars>
          <dgm:bulletEnabled val="1"/>
        </dgm:presLayoutVars>
      </dgm:prSet>
      <dgm:spPr/>
    </dgm:pt>
    <dgm:pt modelId="{8C3CF94D-8BA0-414C-BB9F-5029F48F5003}" type="pres">
      <dgm:prSet presAssocID="{EB0E145B-615C-4744-A4FC-6EA922E2DBA7}" presName="parentText" presStyleLbl="node1" presStyleIdx="2" presStyleCnt="3">
        <dgm:presLayoutVars>
          <dgm:chMax val="0"/>
          <dgm:bulletEnabled val="1"/>
        </dgm:presLayoutVars>
      </dgm:prSet>
      <dgm:spPr/>
    </dgm:pt>
    <dgm:pt modelId="{DA589DC8-9E93-408C-9137-E87F453A0FFC}" type="pres">
      <dgm:prSet presAssocID="{EB0E145B-615C-4744-A4FC-6EA922E2DBA7}" presName="childText" presStyleLbl="revTx" presStyleIdx="1" presStyleCnt="2">
        <dgm:presLayoutVars>
          <dgm:bulletEnabled val="1"/>
        </dgm:presLayoutVars>
      </dgm:prSet>
      <dgm:spPr/>
    </dgm:pt>
  </dgm:ptLst>
  <dgm:cxnLst>
    <dgm:cxn modelId="{568E9300-FC87-4AF5-8342-ED5BD0F1FB51}" srcId="{2F94F8AA-E008-4EFE-9AC1-AABB602556E3}" destId="{AFCF822E-2DCC-40D3-8FBC-32F1B8852667}" srcOrd="1" destOrd="0" parTransId="{504CCEA1-2358-4218-AE52-2F38CCF26CA5}" sibTransId="{8BAF4F52-1871-4D57-8E42-AE61D8E45A81}"/>
    <dgm:cxn modelId="{C59D8C0A-4433-41B0-BB72-C7CE8141A323}" type="presOf" srcId="{6095924E-7841-454C-B8E9-0B64B7D5FBC2}" destId="{DA589DC8-9E93-408C-9137-E87F453A0FFC}" srcOrd="0" destOrd="2" presId="urn:microsoft.com/office/officeart/2005/8/layout/vList2"/>
    <dgm:cxn modelId="{D757B212-CF2F-4ADD-8D1D-05DFCF6942C0}" srcId="{2F94F8AA-E008-4EFE-9AC1-AABB602556E3}" destId="{EB0E145B-615C-4744-A4FC-6EA922E2DBA7}" srcOrd="2" destOrd="0" parTransId="{FC090970-668B-4367-A912-3D221D90F788}" sibTransId="{54E5F7E6-D950-4F51-8B47-6E0B0532BFF2}"/>
    <dgm:cxn modelId="{85C5163F-AC4B-42AF-8B01-6F415912EC2C}" type="presOf" srcId="{12BBA2F0-B8ED-4411-B54B-22D5899E4028}" destId="{CB3581E3-CBF4-4C37-82D9-EC8AB0BAC01C}" srcOrd="0" destOrd="0" presId="urn:microsoft.com/office/officeart/2005/8/layout/vList2"/>
    <dgm:cxn modelId="{A4824D48-1DDB-4069-B956-4AAC15C7DA36}" srcId="{AFCF822E-2DCC-40D3-8FBC-32F1B8852667}" destId="{1E3929B8-3EDA-441B-9F40-2C9928CDDE6B}" srcOrd="0" destOrd="0" parTransId="{F891072C-ECDE-4251-A9E8-A84744730B9B}" sibTransId="{991AC1AB-B166-4401-B5A4-5329622D4169}"/>
    <dgm:cxn modelId="{35F2DC49-17F9-410F-AE1D-D4812EDA105D}" type="presOf" srcId="{AFCF822E-2DCC-40D3-8FBC-32F1B8852667}" destId="{D2724AE2-EB22-46F6-AACA-30DB703321F1}" srcOrd="0" destOrd="0" presId="urn:microsoft.com/office/officeart/2005/8/layout/vList2"/>
    <dgm:cxn modelId="{42AA1285-56CA-4380-956A-2B70B5D113B8}" type="presOf" srcId="{EB0E145B-615C-4744-A4FC-6EA922E2DBA7}" destId="{8C3CF94D-8BA0-414C-BB9F-5029F48F5003}" srcOrd="0" destOrd="0" presId="urn:microsoft.com/office/officeart/2005/8/layout/vList2"/>
    <dgm:cxn modelId="{A0FEF59D-1197-4FC9-8B6B-2FA189BDADFB}" srcId="{EB0E145B-615C-4744-A4FC-6EA922E2DBA7}" destId="{8E33B4AA-1F8B-4040-9E7C-D21736596130}" srcOrd="1" destOrd="0" parTransId="{8238E7B6-FDC0-4BE6-AA8E-98DEFDD3B603}" sibTransId="{55D57AB5-527C-4C31-821A-E36422D9A6C3}"/>
    <dgm:cxn modelId="{EA3069AF-2A58-4199-A14F-E7CBEC83A3E3}" srcId="{EB0E145B-615C-4744-A4FC-6EA922E2DBA7}" destId="{9B5DF1A1-064D-4055-A178-E779027903F0}" srcOrd="0" destOrd="0" parTransId="{0EF9CA68-3F2F-4162-A228-EC633CC31CE8}" sibTransId="{2F84C960-E81E-4685-9441-EF218B652B44}"/>
    <dgm:cxn modelId="{DD26FFB6-13E4-4D51-B5BD-2407F0A349CB}" type="presOf" srcId="{2F94F8AA-E008-4EFE-9AC1-AABB602556E3}" destId="{94739FBE-4350-408D-B1B1-CE7A09FA8D78}" srcOrd="0" destOrd="0" presId="urn:microsoft.com/office/officeart/2005/8/layout/vList2"/>
    <dgm:cxn modelId="{FB8FDBBF-6D69-4134-B85E-486470E75CE9}" type="presOf" srcId="{1E3929B8-3EDA-441B-9F40-2C9928CDDE6B}" destId="{8DE30CD0-05CE-4086-A6CA-E914762407D1}" srcOrd="0" destOrd="0" presId="urn:microsoft.com/office/officeart/2005/8/layout/vList2"/>
    <dgm:cxn modelId="{9F36F1CD-07D9-4C24-AC6E-130CF505ABA8}" srcId="{EB0E145B-615C-4744-A4FC-6EA922E2DBA7}" destId="{6095924E-7841-454C-B8E9-0B64B7D5FBC2}" srcOrd="2" destOrd="0" parTransId="{79CE74E1-6544-450E-9460-8D76BFCFDA50}" sibTransId="{40DA5A8E-7BFA-4853-BD5E-42095C6366C4}"/>
    <dgm:cxn modelId="{A04D35DD-8989-4563-90D5-0797C27CCB36}" type="presOf" srcId="{8E33B4AA-1F8B-4040-9E7C-D21736596130}" destId="{DA589DC8-9E93-408C-9137-E87F453A0FFC}" srcOrd="0" destOrd="1" presId="urn:microsoft.com/office/officeart/2005/8/layout/vList2"/>
    <dgm:cxn modelId="{42CEE2DE-08F7-47D9-9255-C834C3173DC8}" type="presOf" srcId="{9B5DF1A1-064D-4055-A178-E779027903F0}" destId="{DA589DC8-9E93-408C-9137-E87F453A0FFC}" srcOrd="0" destOrd="0" presId="urn:microsoft.com/office/officeart/2005/8/layout/vList2"/>
    <dgm:cxn modelId="{B8D9F1F9-C6D3-4DE0-B876-A27DF74C81CB}" srcId="{2F94F8AA-E008-4EFE-9AC1-AABB602556E3}" destId="{12BBA2F0-B8ED-4411-B54B-22D5899E4028}" srcOrd="0" destOrd="0" parTransId="{205EC97E-D891-4A75-B926-95285A863BD7}" sibTransId="{DB500709-0816-477E-95CC-DB4B4AF48A79}"/>
    <dgm:cxn modelId="{3C712DAC-EA5C-4DF4-B54D-59DD9ABCDA56}" type="presParOf" srcId="{94739FBE-4350-408D-B1B1-CE7A09FA8D78}" destId="{CB3581E3-CBF4-4C37-82D9-EC8AB0BAC01C}" srcOrd="0" destOrd="0" presId="urn:microsoft.com/office/officeart/2005/8/layout/vList2"/>
    <dgm:cxn modelId="{AC7374FE-3F09-40B9-9083-15FFCEF33CAE}" type="presParOf" srcId="{94739FBE-4350-408D-B1B1-CE7A09FA8D78}" destId="{967EC52C-3386-487A-BD08-AE746165D6FA}" srcOrd="1" destOrd="0" presId="urn:microsoft.com/office/officeart/2005/8/layout/vList2"/>
    <dgm:cxn modelId="{DF2BB531-AC32-48AD-8992-B0F38B85A2AA}" type="presParOf" srcId="{94739FBE-4350-408D-B1B1-CE7A09FA8D78}" destId="{D2724AE2-EB22-46F6-AACA-30DB703321F1}" srcOrd="2" destOrd="0" presId="urn:microsoft.com/office/officeart/2005/8/layout/vList2"/>
    <dgm:cxn modelId="{E3FE0E65-3DE5-469A-BDE2-6ACA4086D6FC}" type="presParOf" srcId="{94739FBE-4350-408D-B1B1-CE7A09FA8D78}" destId="{8DE30CD0-05CE-4086-A6CA-E914762407D1}" srcOrd="3" destOrd="0" presId="urn:microsoft.com/office/officeart/2005/8/layout/vList2"/>
    <dgm:cxn modelId="{435AC0B2-2C5F-4AC5-ACC9-EA2D29543FD7}" type="presParOf" srcId="{94739FBE-4350-408D-B1B1-CE7A09FA8D78}" destId="{8C3CF94D-8BA0-414C-BB9F-5029F48F5003}" srcOrd="4" destOrd="0" presId="urn:microsoft.com/office/officeart/2005/8/layout/vList2"/>
    <dgm:cxn modelId="{028B7DBD-E071-4EA6-BD85-72FDF290207A}" type="presParOf" srcId="{94739FBE-4350-408D-B1B1-CE7A09FA8D78}" destId="{DA589DC8-9E93-408C-9137-E87F453A0FFC}" srcOrd="5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9AE269F-53FC-4308-A828-F361FB26BBFE}">
      <dsp:nvSpPr>
        <dsp:cNvPr id="0" name=""/>
        <dsp:cNvSpPr/>
      </dsp:nvSpPr>
      <dsp:spPr>
        <a:xfrm rot="16200000">
          <a:off x="508000" y="-508000"/>
          <a:ext cx="2032000" cy="3048000"/>
        </a:xfrm>
        <a:prstGeom prst="round1Rect">
          <a:avLst/>
        </a:prstGeom>
        <a:solidFill>
          <a:schemeClr val="accent1">
            <a:lumMod val="9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200" kern="1200"/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200" b="1" kern="1200"/>
            <a:t>Brukerstøtte</a:t>
          </a:r>
        </a:p>
        <a:p>
          <a:pPr marL="0" lvl="0" indent="0" algn="ctr" defTabSz="533400">
            <a:lnSpc>
              <a:spcPct val="100000"/>
            </a:lnSpc>
            <a:spcBef>
              <a:spcPct val="0"/>
            </a:spcBef>
            <a:spcAft>
              <a:spcPts val="0"/>
            </a:spcAft>
            <a:buFont typeface="Arial" panose="020B0604020202020204" pitchFamily="34" charset="0"/>
            <a:buNone/>
          </a:pPr>
          <a:r>
            <a:rPr lang="nb-NO" sz="1200" kern="1200"/>
            <a:t>- Ekstra brukerstøtte ved oppstart</a:t>
          </a:r>
        </a:p>
        <a:p>
          <a:pPr marL="0" lvl="0" indent="0" algn="ctr" defTabSz="533400">
            <a:lnSpc>
              <a:spcPct val="100000"/>
            </a:lnSpc>
            <a:spcBef>
              <a:spcPct val="0"/>
            </a:spcBef>
            <a:spcAft>
              <a:spcPts val="0"/>
            </a:spcAft>
            <a:buFont typeface="Arial" panose="020B0604020202020204" pitchFamily="34" charset="0"/>
            <a:buNone/>
          </a:pPr>
          <a:r>
            <a:rPr lang="nb-NO" sz="1200" kern="1200"/>
            <a:t>- Teams-rom/ kanaler for utvalgte roller </a:t>
          </a:r>
        </a:p>
        <a:p>
          <a:pPr marL="0" lvl="0" indent="0" algn="ctr" defTabSz="533400">
            <a:lnSpc>
              <a:spcPct val="100000"/>
            </a:lnSpc>
            <a:spcBef>
              <a:spcPct val="0"/>
            </a:spcBef>
            <a:spcAft>
              <a:spcPts val="0"/>
            </a:spcAft>
            <a:buFont typeface="Arial" panose="020B0604020202020204" pitchFamily="34" charset="0"/>
            <a:buNone/>
          </a:pPr>
          <a:r>
            <a:rPr lang="nb-NO" sz="1200" kern="1200"/>
            <a:t>- Nettsider</a:t>
          </a:r>
        </a:p>
        <a:p>
          <a:pPr marL="0" lvl="0" indent="0" algn="ctr" defTabSz="533400">
            <a:lnSpc>
              <a:spcPct val="100000"/>
            </a:lnSpc>
            <a:spcBef>
              <a:spcPct val="0"/>
            </a:spcBef>
            <a:spcAft>
              <a:spcPts val="0"/>
            </a:spcAft>
            <a:buFont typeface="Arial" panose="020B0604020202020204" pitchFamily="34" charset="0"/>
            <a:buNone/>
          </a:pPr>
          <a:r>
            <a:rPr lang="nb-NO" sz="1200" kern="1200"/>
            <a:t>- Mulighet for </a:t>
          </a:r>
          <a:r>
            <a:rPr lang="nb-NO" sz="1200" kern="1200" err="1"/>
            <a:t>webinarer</a:t>
          </a:r>
          <a:r>
            <a:rPr lang="nb-NO" sz="1200" kern="1200"/>
            <a:t> for utvalgte tema</a:t>
          </a:r>
        </a:p>
      </dsp:txBody>
      <dsp:txXfrm rot="5400000">
        <a:off x="0" y="0"/>
        <a:ext cx="3048000" cy="1524000"/>
      </dsp:txXfrm>
    </dsp:sp>
    <dsp:sp modelId="{C641786F-1105-4E7D-B43F-59DDA91D0A9C}">
      <dsp:nvSpPr>
        <dsp:cNvPr id="0" name=""/>
        <dsp:cNvSpPr/>
      </dsp:nvSpPr>
      <dsp:spPr>
        <a:xfrm>
          <a:off x="3034405" y="0"/>
          <a:ext cx="3048000" cy="2032000"/>
        </a:xfrm>
        <a:prstGeom prst="round1Rect">
          <a:avLst/>
        </a:prstGeom>
        <a:solidFill>
          <a:schemeClr val="accent1">
            <a:lumMod val="9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200" kern="1200"/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200" kern="1200"/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200" b="1" kern="1200"/>
            <a:t>NTNU Spesifikt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200" kern="1200"/>
            <a:t>- NTNU Kurs før og etter DFØ systemopplæring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200" b="0" kern="1200">
              <a:latin typeface="Arial" panose="020B0604020202020204"/>
            </a:rPr>
            <a:t>- Informasjonsmøter og </a:t>
          </a:r>
          <a:r>
            <a:rPr lang="nb-NO" sz="1200" b="0" kern="1200" err="1">
              <a:latin typeface="Arial" panose="020B0604020202020204"/>
            </a:rPr>
            <a:t>webinarer</a:t>
          </a:r>
          <a:r>
            <a:rPr lang="nb-NO" sz="1200" b="0" kern="1200">
              <a:latin typeface="Arial" panose="020B0604020202020204"/>
            </a:rPr>
            <a:t> om spesielle tema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200" b="0" kern="1200">
            <a:latin typeface="Arial" panose="020B0604020202020204"/>
          </a:endParaRP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200" b="0" kern="1200">
            <a:latin typeface="Arial" panose="020B0604020202020204"/>
          </a:endParaRPr>
        </a:p>
      </dsp:txBody>
      <dsp:txXfrm>
        <a:off x="3034405" y="0"/>
        <a:ext cx="3048000" cy="1524000"/>
      </dsp:txXfrm>
    </dsp:sp>
    <dsp:sp modelId="{B552DEAA-B732-4475-A930-7DF6F868DE27}">
      <dsp:nvSpPr>
        <dsp:cNvPr id="0" name=""/>
        <dsp:cNvSpPr/>
      </dsp:nvSpPr>
      <dsp:spPr>
        <a:xfrm rot="10800000">
          <a:off x="0" y="2023587"/>
          <a:ext cx="3048000" cy="2032000"/>
        </a:xfrm>
        <a:prstGeom prst="round1Rect">
          <a:avLst/>
        </a:prstGeom>
        <a:solidFill>
          <a:schemeClr val="accent1">
            <a:lumMod val="9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200" b="1" kern="1200"/>
            <a:t>DFØ Systemopplæring </a:t>
          </a:r>
        </a:p>
        <a:p>
          <a:pPr marL="0" lvl="0" indent="0" algn="ctr" defTabSz="5334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nb-NO" sz="1200" b="0" kern="1200"/>
            <a:t>- Webinarer</a:t>
          </a:r>
        </a:p>
        <a:p>
          <a:pPr marL="0" lvl="0" indent="0" algn="ctr" defTabSz="5334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nb-NO" sz="1200" b="0" kern="1200"/>
            <a:t>- Trykkekurs for noen roller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200" kern="1200"/>
        </a:p>
      </dsp:txBody>
      <dsp:txXfrm rot="10800000">
        <a:off x="0" y="2531587"/>
        <a:ext cx="3048000" cy="1524000"/>
      </dsp:txXfrm>
    </dsp:sp>
    <dsp:sp modelId="{733116BF-33AC-40D9-ABAB-F1408D18153E}">
      <dsp:nvSpPr>
        <dsp:cNvPr id="0" name=""/>
        <dsp:cNvSpPr/>
      </dsp:nvSpPr>
      <dsp:spPr>
        <a:xfrm rot="5400000">
          <a:off x="3556000" y="1523999"/>
          <a:ext cx="2032000" cy="3048000"/>
        </a:xfrm>
        <a:prstGeom prst="round1Rect">
          <a:avLst/>
        </a:prstGeom>
        <a:solidFill>
          <a:schemeClr val="accent1">
            <a:lumMod val="9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200" b="1" kern="1200"/>
            <a:t>Egenlæring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nb-NO" sz="1200" kern="1200"/>
            <a:t>- BOTT ØL e-læring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nb-NO" sz="1200" kern="1200"/>
            <a:t>- DFØ Systemvideoer</a:t>
          </a:r>
          <a:br>
            <a:rPr lang="nb-NO" sz="1200" kern="1200"/>
          </a:br>
          <a:r>
            <a:rPr lang="nb-NO" sz="1200" kern="1200"/>
            <a:t>- DFØ e-læring</a:t>
          </a:r>
          <a:br>
            <a:rPr lang="nb-NO" sz="1200" kern="1200"/>
          </a:br>
          <a:r>
            <a:rPr lang="nb-NO" sz="1200" kern="1200"/>
            <a:t>- NTNU videokurs</a:t>
          </a:r>
        </a:p>
      </dsp:txBody>
      <dsp:txXfrm rot="-5400000">
        <a:off x="3048000" y="2539999"/>
        <a:ext cx="3048000" cy="1524000"/>
      </dsp:txXfrm>
    </dsp:sp>
    <dsp:sp modelId="{81375138-22FA-4DF7-935E-8921C252465F}">
      <dsp:nvSpPr>
        <dsp:cNvPr id="0" name=""/>
        <dsp:cNvSpPr/>
      </dsp:nvSpPr>
      <dsp:spPr>
        <a:xfrm>
          <a:off x="2133600" y="1523999"/>
          <a:ext cx="1828800" cy="1016000"/>
        </a:xfrm>
        <a:prstGeom prst="roundRect">
          <a:avLst/>
        </a:prstGeom>
        <a:solidFill>
          <a:schemeClr val="accent1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200" b="1" kern="1200">
              <a:solidFill>
                <a:schemeClr val="bg1"/>
              </a:solidFill>
            </a:rPr>
            <a:t>Opplæringsplan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200" b="1" kern="1200">
            <a:solidFill>
              <a:schemeClr val="bg1"/>
            </a:solidFill>
          </a:endParaRP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200" b="1" kern="1200">
            <a:solidFill>
              <a:schemeClr val="bg1"/>
            </a:solidFill>
          </a:endParaRPr>
        </a:p>
      </dsp:txBody>
      <dsp:txXfrm>
        <a:off x="2183197" y="1573596"/>
        <a:ext cx="1729606" cy="91680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6AE0105-133E-4FF4-8816-8B4F92E66E75}">
      <dsp:nvSpPr>
        <dsp:cNvPr id="0" name=""/>
        <dsp:cNvSpPr/>
      </dsp:nvSpPr>
      <dsp:spPr>
        <a:xfrm>
          <a:off x="4" y="0"/>
          <a:ext cx="8630648" cy="3668514"/>
        </a:xfrm>
        <a:prstGeom prst="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A073C8C-7751-4CB9-A524-00CE45ACE0B6}">
      <dsp:nvSpPr>
        <dsp:cNvPr id="0" name=""/>
        <dsp:cNvSpPr/>
      </dsp:nvSpPr>
      <dsp:spPr>
        <a:xfrm>
          <a:off x="48332" y="1100554"/>
          <a:ext cx="902030" cy="146740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b="1" kern="1200"/>
            <a:t>NTNU 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b="1" kern="1200"/>
            <a:t>Kurs 1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900" b="0" kern="1200"/>
            <a:t>Introduksjon til opplæring </a:t>
          </a:r>
          <a:r>
            <a:rPr lang="nb-NO" sz="900" kern="1200"/>
            <a:t>og egenlæring for rolle og prosess</a:t>
          </a:r>
        </a:p>
      </dsp:txBody>
      <dsp:txXfrm>
        <a:off x="92365" y="1144587"/>
        <a:ext cx="813964" cy="1379339"/>
      </dsp:txXfrm>
    </dsp:sp>
    <dsp:sp modelId="{6DCCF6FC-0881-4755-8B41-48B9DE698B30}">
      <dsp:nvSpPr>
        <dsp:cNvPr id="0" name=""/>
        <dsp:cNvSpPr/>
      </dsp:nvSpPr>
      <dsp:spPr>
        <a:xfrm>
          <a:off x="1041281" y="1100554"/>
          <a:ext cx="943328" cy="146740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b="1" kern="1200"/>
            <a:t>Egenlæring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900" kern="1200"/>
            <a:t>E-læring for rolle og prosess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900" kern="1200"/>
            <a:t>Økonomi-modell – videokurs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900" kern="1200"/>
            <a:t>Lokal oppfølging</a:t>
          </a:r>
        </a:p>
      </dsp:txBody>
      <dsp:txXfrm>
        <a:off x="1087330" y="1146603"/>
        <a:ext cx="851230" cy="1375307"/>
      </dsp:txXfrm>
    </dsp:sp>
    <dsp:sp modelId="{2CBB4BEF-1A89-49D3-9B59-B25A5049F2EB}">
      <dsp:nvSpPr>
        <dsp:cNvPr id="0" name=""/>
        <dsp:cNvSpPr/>
      </dsp:nvSpPr>
      <dsp:spPr>
        <a:xfrm>
          <a:off x="2117357" y="1100554"/>
          <a:ext cx="918406" cy="146740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b="1" kern="1200"/>
            <a:t>NTNU 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b="1" kern="1200"/>
            <a:t>Kurs 2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800" kern="1200"/>
            <a:t>Refleksjon, spørsmål fra egenlæring, økonomi-modell for rolle, nye rutiner og prosesser forberedelse til systemkurs</a:t>
          </a:r>
        </a:p>
      </dsp:txBody>
      <dsp:txXfrm>
        <a:off x="2162190" y="1145387"/>
        <a:ext cx="828740" cy="1377739"/>
      </dsp:txXfrm>
    </dsp:sp>
    <dsp:sp modelId="{80FF13B9-9E37-40F6-9F8E-2F3C6B915A0F}">
      <dsp:nvSpPr>
        <dsp:cNvPr id="0" name=""/>
        <dsp:cNvSpPr/>
      </dsp:nvSpPr>
      <dsp:spPr>
        <a:xfrm>
          <a:off x="3168510" y="1100554"/>
          <a:ext cx="953786" cy="146740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b="1" kern="1200"/>
            <a:t>DFØ Systemkurs </a:t>
          </a:r>
          <a:r>
            <a:rPr lang="nb-NO" sz="1000" b="0" kern="1200"/>
            <a:t>for </a:t>
          </a:r>
          <a:r>
            <a:rPr lang="nb-NO" sz="900" b="0" kern="1200"/>
            <a:t>INNKJØPERE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b="0" kern="1200"/>
            <a:t>Del 1</a:t>
          </a:r>
        </a:p>
      </dsp:txBody>
      <dsp:txXfrm>
        <a:off x="3215070" y="1147114"/>
        <a:ext cx="860666" cy="1374285"/>
      </dsp:txXfrm>
    </dsp:sp>
    <dsp:sp modelId="{62201053-D849-4FCD-B993-571EBFA5243E}">
      <dsp:nvSpPr>
        <dsp:cNvPr id="0" name=""/>
        <dsp:cNvSpPr/>
      </dsp:nvSpPr>
      <dsp:spPr>
        <a:xfrm>
          <a:off x="4255043" y="1100554"/>
          <a:ext cx="990503" cy="146740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b="1" kern="1200"/>
            <a:t>Egenlæring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kern="1200"/>
            <a:t>Repetisjon / oppslag etter opplæring og ved oppstart</a:t>
          </a:r>
        </a:p>
      </dsp:txBody>
      <dsp:txXfrm>
        <a:off x="4303395" y="1148906"/>
        <a:ext cx="893799" cy="1370701"/>
      </dsp:txXfrm>
    </dsp:sp>
    <dsp:sp modelId="{B18664F0-C6BE-4C15-A7B4-20D1856CF816}">
      <dsp:nvSpPr>
        <dsp:cNvPr id="0" name=""/>
        <dsp:cNvSpPr/>
      </dsp:nvSpPr>
      <dsp:spPr>
        <a:xfrm>
          <a:off x="5378294" y="1100554"/>
          <a:ext cx="980516" cy="146740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b="1" kern="1200"/>
            <a:t>NTNU 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b="1" kern="1200"/>
            <a:t>kurs 3</a:t>
          </a:r>
        </a:p>
        <a:p>
          <a:pPr marL="0" lvl="0" indent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000" b="0" kern="1200"/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b="0" kern="1200"/>
            <a:t>Refleksjon/ spørsmål etter DFØ System-opplæring </a:t>
          </a:r>
        </a:p>
      </dsp:txBody>
      <dsp:txXfrm>
        <a:off x="5426159" y="1148419"/>
        <a:ext cx="884786" cy="1371675"/>
      </dsp:txXfrm>
    </dsp:sp>
    <dsp:sp modelId="{62F2A9AF-22A1-407C-B1ED-D4475DDEF1DC}">
      <dsp:nvSpPr>
        <dsp:cNvPr id="0" name=""/>
        <dsp:cNvSpPr/>
      </dsp:nvSpPr>
      <dsp:spPr>
        <a:xfrm>
          <a:off x="6491557" y="1100554"/>
          <a:ext cx="796481" cy="146740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b="0" kern="1200"/>
            <a:t>Bruker-støtte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kern="1200"/>
            <a:t>Innsida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kern="1200"/>
            <a:t>NTNU Hjelp</a:t>
          </a:r>
          <a:r>
            <a:rPr lang="nb-NO" sz="1000" b="1" kern="1200"/>
            <a:t> </a:t>
          </a:r>
          <a:endParaRPr lang="nb-NO" sz="1000" kern="1200"/>
        </a:p>
      </dsp:txBody>
      <dsp:txXfrm>
        <a:off x="6530438" y="1139435"/>
        <a:ext cx="718719" cy="1389643"/>
      </dsp:txXfrm>
    </dsp:sp>
    <dsp:sp modelId="{A5A648B9-87AF-4CEF-B416-A1D97628CFB1}">
      <dsp:nvSpPr>
        <dsp:cNvPr id="0" name=""/>
        <dsp:cNvSpPr/>
      </dsp:nvSpPr>
      <dsp:spPr>
        <a:xfrm>
          <a:off x="7420785" y="1100554"/>
          <a:ext cx="1203363" cy="146740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kern="1200"/>
            <a:t>DFØ systemkurs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kern="1200"/>
            <a:t>for </a:t>
          </a:r>
          <a:r>
            <a:rPr lang="nb-NO" sz="900" kern="1200"/>
            <a:t>INNKJØPERE</a:t>
          </a:r>
          <a:endParaRPr lang="nb-NO" sz="1000" kern="1200"/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b="1" kern="1200"/>
            <a:t>Del 2 </a:t>
          </a:r>
        </a:p>
      </dsp:txBody>
      <dsp:txXfrm>
        <a:off x="7479528" y="1159297"/>
        <a:ext cx="1085877" cy="1349919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6AE0105-133E-4FF4-8816-8B4F92E66E75}">
      <dsp:nvSpPr>
        <dsp:cNvPr id="0" name=""/>
        <dsp:cNvSpPr/>
      </dsp:nvSpPr>
      <dsp:spPr>
        <a:xfrm>
          <a:off x="4" y="0"/>
          <a:ext cx="8726901" cy="3668514"/>
        </a:xfrm>
        <a:prstGeom prst="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A073C8C-7751-4CB9-A524-00CE45ACE0B6}">
      <dsp:nvSpPr>
        <dsp:cNvPr id="0" name=""/>
        <dsp:cNvSpPr/>
      </dsp:nvSpPr>
      <dsp:spPr>
        <a:xfrm>
          <a:off x="45946" y="1100554"/>
          <a:ext cx="910642" cy="146740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b="0" kern="1200"/>
            <a:t>NTNU Kurs 1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b="0" kern="1200"/>
            <a:t>Introduksjon til opplæring </a:t>
          </a:r>
          <a:r>
            <a:rPr lang="nb-NO" sz="1000" kern="1200"/>
            <a:t>og egenlæring for rolle og prosess</a:t>
          </a:r>
        </a:p>
      </dsp:txBody>
      <dsp:txXfrm>
        <a:off x="90400" y="1145008"/>
        <a:ext cx="821734" cy="1378497"/>
      </dsp:txXfrm>
    </dsp:sp>
    <dsp:sp modelId="{6DCCF6FC-0881-4755-8B41-48B9DE698B30}">
      <dsp:nvSpPr>
        <dsp:cNvPr id="0" name=""/>
        <dsp:cNvSpPr/>
      </dsp:nvSpPr>
      <dsp:spPr>
        <a:xfrm>
          <a:off x="1048375" y="1100554"/>
          <a:ext cx="952334" cy="146740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b="0" kern="1200"/>
            <a:t>Egenlæring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kern="1200"/>
            <a:t>E-læring for rolle og prosess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kern="1200"/>
            <a:t>Økonomi-modell – videokurs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kern="1200"/>
            <a:t>Lokal oppfølging</a:t>
          </a:r>
        </a:p>
      </dsp:txBody>
      <dsp:txXfrm>
        <a:off x="1094864" y="1147043"/>
        <a:ext cx="859356" cy="1374427"/>
      </dsp:txXfrm>
    </dsp:sp>
    <dsp:sp modelId="{2CBB4BEF-1A89-49D3-9B59-B25A5049F2EB}">
      <dsp:nvSpPr>
        <dsp:cNvPr id="0" name=""/>
        <dsp:cNvSpPr/>
      </dsp:nvSpPr>
      <dsp:spPr>
        <a:xfrm>
          <a:off x="2134724" y="1100554"/>
          <a:ext cx="927174" cy="146740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b="0" kern="1200"/>
            <a:t>NTNU Kurs 2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900" kern="1200"/>
            <a:t>Refleksjon, spørsmål fra egenlæring, økonomimodell for rolle, nye rutiner og prosesser forberedelse til systemkurs</a:t>
          </a:r>
        </a:p>
      </dsp:txBody>
      <dsp:txXfrm>
        <a:off x="2179985" y="1145815"/>
        <a:ext cx="836652" cy="1376883"/>
      </dsp:txXfrm>
    </dsp:sp>
    <dsp:sp modelId="{80FF13B9-9E37-40F6-9F8E-2F3C6B915A0F}">
      <dsp:nvSpPr>
        <dsp:cNvPr id="0" name=""/>
        <dsp:cNvSpPr/>
      </dsp:nvSpPr>
      <dsp:spPr>
        <a:xfrm>
          <a:off x="3195914" y="1100554"/>
          <a:ext cx="962892" cy="146740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b="0" kern="1200"/>
            <a:t>DFØ Systemkurs for Fagrekvirent</a:t>
          </a:r>
        </a:p>
      </dsp:txBody>
      <dsp:txXfrm>
        <a:off x="3242919" y="1147559"/>
        <a:ext cx="868882" cy="1373395"/>
      </dsp:txXfrm>
    </dsp:sp>
    <dsp:sp modelId="{62201053-D849-4FCD-B993-571EBFA5243E}">
      <dsp:nvSpPr>
        <dsp:cNvPr id="0" name=""/>
        <dsp:cNvSpPr/>
      </dsp:nvSpPr>
      <dsp:spPr>
        <a:xfrm>
          <a:off x="4292820" y="1100554"/>
          <a:ext cx="999960" cy="146740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b="0" kern="1200"/>
            <a:t>Egenlæring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kern="1200"/>
            <a:t>Repetisjon / oppslag etter opplæring og ved oppstart</a:t>
          </a:r>
        </a:p>
      </dsp:txBody>
      <dsp:txXfrm>
        <a:off x="4341634" y="1149368"/>
        <a:ext cx="902332" cy="1369777"/>
      </dsp:txXfrm>
    </dsp:sp>
    <dsp:sp modelId="{B18664F0-C6BE-4C15-A7B4-20D1856CF816}">
      <dsp:nvSpPr>
        <dsp:cNvPr id="0" name=""/>
        <dsp:cNvSpPr/>
      </dsp:nvSpPr>
      <dsp:spPr>
        <a:xfrm>
          <a:off x="5426795" y="1100554"/>
          <a:ext cx="989877" cy="146740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b="0" kern="1200"/>
            <a:t>NTNU kurs 3</a:t>
          </a:r>
        </a:p>
        <a:p>
          <a:pPr marL="0" lvl="0" indent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b="0" kern="1200"/>
            <a:t>Refleksjon/ spørsmål etter DFØ System-opplæring </a:t>
          </a:r>
        </a:p>
      </dsp:txBody>
      <dsp:txXfrm>
        <a:off x="5475117" y="1148876"/>
        <a:ext cx="893233" cy="1370761"/>
      </dsp:txXfrm>
    </dsp:sp>
    <dsp:sp modelId="{62F2A9AF-22A1-407C-B1ED-D4475DDEF1DC}">
      <dsp:nvSpPr>
        <dsp:cNvPr id="0" name=""/>
        <dsp:cNvSpPr/>
      </dsp:nvSpPr>
      <dsp:spPr>
        <a:xfrm>
          <a:off x="6550687" y="1100554"/>
          <a:ext cx="1122905" cy="146740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b="0" kern="1200"/>
            <a:t>Bruker-støtte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kern="1200"/>
            <a:t>Innsida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kern="1200"/>
            <a:t>NTNU Hjelp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b="0" kern="1200"/>
            <a:t>Lokal oppfølging </a:t>
          </a:r>
        </a:p>
      </dsp:txBody>
      <dsp:txXfrm>
        <a:off x="6605503" y="1155370"/>
        <a:ext cx="1013273" cy="1357773"/>
      </dsp:txXfrm>
    </dsp:sp>
    <dsp:sp modelId="{A9803DBB-F235-4AFB-867E-42141B7FCAF3}">
      <dsp:nvSpPr>
        <dsp:cNvPr id="0" name=""/>
        <dsp:cNvSpPr/>
      </dsp:nvSpPr>
      <dsp:spPr>
        <a:xfrm>
          <a:off x="7807607" y="1100554"/>
          <a:ext cx="915580" cy="146740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kern="1200"/>
            <a:t>DFØ Systemkurs for Fagrekvirent 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kern="1200"/>
            <a:t>(samme som før jul)</a:t>
          </a:r>
        </a:p>
      </dsp:txBody>
      <dsp:txXfrm>
        <a:off x="7852302" y="1145249"/>
        <a:ext cx="826190" cy="1378015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AF1DB65-7714-4C55-8A72-4F0BEDFFC536}">
      <dsp:nvSpPr>
        <dsp:cNvPr id="0" name=""/>
        <dsp:cNvSpPr/>
      </dsp:nvSpPr>
      <dsp:spPr>
        <a:xfrm>
          <a:off x="0" y="341636"/>
          <a:ext cx="4830755" cy="193725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74920" tIns="312420" rIns="374920" bIns="106680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500" kern="1200"/>
            <a:t>NTNU Kurs for </a:t>
          </a:r>
          <a:r>
            <a:rPr lang="nb-NO" sz="1500" kern="1200" err="1"/>
            <a:t>Btb</a:t>
          </a:r>
          <a:r>
            <a:rPr lang="nb-NO" sz="1500" kern="1200"/>
            <a:t>-prosessen</a:t>
          </a:r>
          <a:r>
            <a:rPr lang="nb-NO" sz="1500" kern="1200" baseline="30000"/>
            <a:t>**)</a:t>
          </a:r>
          <a:endParaRPr lang="nb-NO" sz="1500" kern="120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500" kern="1200"/>
            <a:t>Egenlæring</a:t>
          </a:r>
          <a:r>
            <a:rPr lang="nb-NO" sz="1500" kern="1200" baseline="30000"/>
            <a:t>*)</a:t>
          </a:r>
          <a:endParaRPr lang="nb-NO" sz="1500" kern="120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500" kern="1200"/>
            <a:t>DFØ Systemkurs1: Innkjøpsforespørsel - trykkekurs</a:t>
          </a: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500" kern="1200"/>
            <a:t>DFØ Systemkurs 2:  Inngående faktura - trykkekurs</a:t>
          </a: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500" kern="1200"/>
            <a:t>Etablere kompetansenettverk for rollen</a:t>
          </a:r>
        </a:p>
      </dsp:txBody>
      <dsp:txXfrm>
        <a:off x="0" y="341636"/>
        <a:ext cx="4830755" cy="1937250"/>
      </dsp:txXfrm>
    </dsp:sp>
    <dsp:sp modelId="{42A653AE-9379-483F-9C0D-FB422368ECBA}">
      <dsp:nvSpPr>
        <dsp:cNvPr id="0" name=""/>
        <dsp:cNvSpPr/>
      </dsp:nvSpPr>
      <dsp:spPr>
        <a:xfrm>
          <a:off x="234472" y="51128"/>
          <a:ext cx="3381528" cy="4428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814" tIns="0" rIns="127814" bIns="0" numCol="1" spcCol="1270" anchor="ctr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500" kern="1200"/>
            <a:t>Innkjøpere</a:t>
          </a:r>
        </a:p>
      </dsp:txBody>
      <dsp:txXfrm>
        <a:off x="256088" y="72744"/>
        <a:ext cx="3338296" cy="399568"/>
      </dsp:txXfrm>
    </dsp:sp>
    <dsp:sp modelId="{18E9B6D3-DA2A-4BD4-8281-94CCC9CDF175}">
      <dsp:nvSpPr>
        <dsp:cNvPr id="0" name=""/>
        <dsp:cNvSpPr/>
      </dsp:nvSpPr>
      <dsp:spPr>
        <a:xfrm>
          <a:off x="0" y="2526202"/>
          <a:ext cx="4830755" cy="1512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74920" tIns="312420" rIns="374920" bIns="106680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500" kern="1200"/>
            <a:t>NTNU Kurs for </a:t>
          </a:r>
          <a:r>
            <a:rPr lang="nb-NO" sz="1500" kern="1200" err="1"/>
            <a:t>Btb</a:t>
          </a:r>
          <a:r>
            <a:rPr lang="nb-NO" sz="1500" kern="1200"/>
            <a:t>-prosessen</a:t>
          </a:r>
          <a:r>
            <a:rPr lang="nb-NO" sz="1500" kern="1200" baseline="30000"/>
            <a:t>**)</a:t>
          </a:r>
          <a:endParaRPr lang="nb-NO" sz="1500" kern="120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500" kern="1200"/>
            <a:t>Egenlæring</a:t>
          </a:r>
          <a:r>
            <a:rPr lang="nb-NO" sz="1500" kern="1200" baseline="30000"/>
            <a:t>*)</a:t>
          </a:r>
          <a:endParaRPr lang="nb-NO" sz="1500" kern="120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500" kern="1200"/>
            <a:t>DFØ Systemkurs – Innkjøpsforespørsel for fagrekvirenter</a:t>
          </a: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500" kern="1200"/>
            <a:t>Lokal oppfølging og opplæring</a:t>
          </a:r>
        </a:p>
      </dsp:txBody>
      <dsp:txXfrm>
        <a:off x="0" y="2526202"/>
        <a:ext cx="4830755" cy="1512000"/>
      </dsp:txXfrm>
    </dsp:sp>
    <dsp:sp modelId="{6042C111-C4EF-48DB-9B82-B75F03DF710E}">
      <dsp:nvSpPr>
        <dsp:cNvPr id="0" name=""/>
        <dsp:cNvSpPr/>
      </dsp:nvSpPr>
      <dsp:spPr>
        <a:xfrm>
          <a:off x="241537" y="2304802"/>
          <a:ext cx="3381528" cy="4428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814" tIns="0" rIns="127814" bIns="0" numCol="1" spcCol="1270" anchor="ctr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500" kern="1200"/>
            <a:t>Fagrekvirenter</a:t>
          </a:r>
        </a:p>
      </dsp:txBody>
      <dsp:txXfrm>
        <a:off x="263153" y="2326418"/>
        <a:ext cx="3338296" cy="399568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B3581E3-CBF4-4C37-82D9-EC8AB0BAC01C}">
      <dsp:nvSpPr>
        <dsp:cNvPr id="0" name=""/>
        <dsp:cNvSpPr/>
      </dsp:nvSpPr>
      <dsp:spPr>
        <a:xfrm>
          <a:off x="0" y="15465"/>
          <a:ext cx="7517564" cy="7300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400" kern="1200"/>
            <a:t>Innkjøpere – </a:t>
          </a:r>
          <a:r>
            <a:rPr lang="nb-NO" sz="1400" b="1" kern="1200"/>
            <a:t>fysiske</a:t>
          </a:r>
          <a:r>
            <a:rPr lang="nb-NO" sz="1400" kern="1200"/>
            <a:t> kurs i Trondheim (3 alternative datoer)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400" kern="1200"/>
            <a:t>Fagrekvirent – Digitalt kurs (3 alternative datoer) </a:t>
          </a:r>
        </a:p>
      </dsp:txBody>
      <dsp:txXfrm>
        <a:off x="35640" y="51105"/>
        <a:ext cx="7446284" cy="658800"/>
      </dsp:txXfrm>
    </dsp:sp>
    <dsp:sp modelId="{D2724AE2-EB22-46F6-AACA-30DB703321F1}">
      <dsp:nvSpPr>
        <dsp:cNvPr id="0" name=""/>
        <dsp:cNvSpPr/>
      </dsp:nvSpPr>
      <dsp:spPr>
        <a:xfrm>
          <a:off x="0" y="857866"/>
          <a:ext cx="7517564" cy="7300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400" kern="1200"/>
            <a:t>Det sendes ut </a:t>
          </a:r>
          <a:r>
            <a:rPr lang="nb-NO" sz="1400" b="1" kern="1200"/>
            <a:t>kalenderinnkalling i Outlook </a:t>
          </a:r>
          <a:r>
            <a:rPr lang="nb-NO" sz="1400" kern="1200"/>
            <a:t>til alle kurs</a:t>
          </a:r>
        </a:p>
      </dsp:txBody>
      <dsp:txXfrm>
        <a:off x="35640" y="893506"/>
        <a:ext cx="7446284" cy="658800"/>
      </dsp:txXfrm>
    </dsp:sp>
    <dsp:sp modelId="{8DE30CD0-05CE-4086-A6CA-E914762407D1}">
      <dsp:nvSpPr>
        <dsp:cNvPr id="0" name=""/>
        <dsp:cNvSpPr/>
      </dsp:nvSpPr>
      <dsp:spPr>
        <a:xfrm>
          <a:off x="0" y="1587946"/>
          <a:ext cx="7517564" cy="6458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38683" tIns="17780" rIns="99568" bIns="1778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nb-NO" sz="1400" kern="1200"/>
            <a:t>Du får innkalling i forhold til den rollen du skal ha</a:t>
          </a:r>
        </a:p>
      </dsp:txBody>
      <dsp:txXfrm>
        <a:off x="0" y="1587946"/>
        <a:ext cx="7517564" cy="645840"/>
      </dsp:txXfrm>
    </dsp:sp>
    <dsp:sp modelId="{8C3CF94D-8BA0-414C-BB9F-5029F48F5003}">
      <dsp:nvSpPr>
        <dsp:cNvPr id="0" name=""/>
        <dsp:cNvSpPr/>
      </dsp:nvSpPr>
      <dsp:spPr>
        <a:xfrm>
          <a:off x="0" y="2233786"/>
          <a:ext cx="7517564" cy="7300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400" kern="1200"/>
            <a:t>Kurs arrangert av DFØ har påmelding</a:t>
          </a:r>
        </a:p>
      </dsp:txBody>
      <dsp:txXfrm>
        <a:off x="35640" y="2269426"/>
        <a:ext cx="7446284" cy="658800"/>
      </dsp:txXfrm>
    </dsp:sp>
    <dsp:sp modelId="{DA589DC8-9E93-408C-9137-E87F453A0FFC}">
      <dsp:nvSpPr>
        <dsp:cNvPr id="0" name=""/>
        <dsp:cNvSpPr/>
      </dsp:nvSpPr>
      <dsp:spPr>
        <a:xfrm>
          <a:off x="0" y="2963866"/>
          <a:ext cx="7517564" cy="68620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38683" tIns="17780" rIns="99568" bIns="1778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nb-NO" sz="1400" kern="1200"/>
            <a:t>Det vil være påmeldingslenke i kalenderinvitasjonen der det er aktuelt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nb-NO" sz="1400" kern="1200"/>
            <a:t>Det er viktig å huske å melde seg på kurset 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nb-NO" sz="1400" kern="1200"/>
            <a:t>Noen dager før kursstart vil alle som har meldt seg på kurset få påloggingslenke</a:t>
          </a:r>
          <a:endParaRPr lang="en-US" sz="1400" kern="1200"/>
        </a:p>
      </dsp:txBody>
      <dsp:txXfrm>
        <a:off x="0" y="2963866"/>
        <a:ext cx="7517564" cy="68620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matrix1">
  <dgm:title val=""/>
  <dgm:desc val=""/>
  <dgm:catLst>
    <dgm:cat type="matrix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clrData>
  <dgm:layoutNode name="diagram">
    <dgm:varLst>
      <dgm:chMax val="1"/>
      <dgm:dir/>
      <dgm:animLvl val="ctr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ctrX" for="ch" forName="matrix" refType="w" fact="0.5"/>
      <dgm:constr type="ctrY" for="ch" forName="matrix" refType="h" fact="0.5"/>
      <dgm:constr type="w" for="ch" forName="matrix" refType="w"/>
      <dgm:constr type="h" for="ch" forName="matrix" refType="h"/>
      <dgm:constr type="ctrX" for="ch" forName="centerTile" refType="w" fact="0.5"/>
      <dgm:constr type="ctrY" for="ch" forName="centerTile" refType="h" fact="0.5"/>
      <dgm:constr type="w" for="ch" forName="centerTile" refType="w" fact="0.3"/>
      <dgm:constr type="h" for="ch" forName="centerTile" refType="h" fact="0.25"/>
      <dgm:constr type="primFontSz" for="des" ptType="node" op="equ" val="65"/>
    </dgm:constrLst>
    <dgm:ruleLst/>
    <dgm:choose name="Name0">
      <dgm:if name="Name1" axis="ch" ptType="node" func="cnt" op="gte" val="1">
        <dgm:layoutNode name="matrix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l" for="ch" forName="tile1"/>
            <dgm:constr type="t" for="ch" forName="tile1"/>
            <dgm:constr type="r" for="ch" forName="tile1" refType="w" fact="0.5"/>
            <dgm:constr type="b" for="ch" forName="tile1" refType="h" fact="0.5"/>
            <dgm:constr type="l" for="ch" forName="tile1text" refType="l" refFor="ch" refForName="tile1"/>
            <dgm:constr type="t" for="ch" forName="tile1text" refType="t" refFor="ch" refForName="tile1"/>
            <dgm:constr type="w" for="ch" forName="tile1text" refType="w" refFor="ch" refForName="tile1"/>
            <dgm:constr type="h" for="ch" forName="tile1text" refType="h" refFor="ch" refForName="tile1" fact="0.75"/>
            <dgm:constr type="r" for="ch" forName="tile2" refType="w"/>
            <dgm:constr type="t" for="ch" forName="tile2"/>
            <dgm:constr type="l" for="ch" forName="tile2" refType="w" fact="0.5"/>
            <dgm:constr type="b" for="ch" forName="tile2" refType="h" fact="0.5"/>
            <dgm:constr type="r" for="ch" forName="tile2text" refType="r" refFor="ch" refForName="tile2"/>
            <dgm:constr type="t" for="ch" forName="tile2text" refType="t" refFor="ch" refForName="tile2"/>
            <dgm:constr type="w" for="ch" forName="tile2text" refType="w" refFor="ch" refForName="tile2"/>
            <dgm:constr type="h" for="ch" forName="tile2text" refType="h" refFor="ch" refForName="tile2" fact="0.75"/>
            <dgm:constr type="l" for="ch" forName="tile3"/>
            <dgm:constr type="b" for="ch" forName="tile3" refType="h"/>
            <dgm:constr type="r" for="ch" forName="tile3" refType="w" fact="0.5"/>
            <dgm:constr type="t" for="ch" forName="tile3" refType="h" fact="0.5"/>
            <dgm:constr type="l" for="ch" forName="tile3text" refType="l" refFor="ch" refForName="tile3"/>
            <dgm:constr type="b" for="ch" forName="tile3text" refType="b" refFor="ch" refForName="tile3"/>
            <dgm:constr type="w" for="ch" forName="tile3text" refType="w" refFor="ch" refForName="tile3"/>
            <dgm:constr type="h" for="ch" forName="tile3text" refType="h" refFor="ch" refForName="tile3" fact="0.75"/>
            <dgm:constr type="r" for="ch" forName="tile4" refType="w"/>
            <dgm:constr type="b" for="ch" forName="tile4" refType="h"/>
            <dgm:constr type="l" for="ch" forName="tile4" refType="w" fact="0.5"/>
            <dgm:constr type="t" for="ch" forName="tile4" refType="h" fact="0.5"/>
            <dgm:constr type="r" for="ch" forName="tile4text" refType="r" refFor="ch" refForName="tile4"/>
            <dgm:constr type="b" for="ch" forName="tile4text" refType="b" refFor="ch" refForName="tile4"/>
            <dgm:constr type="w" for="ch" forName="tile4text" refType="w" refFor="ch" refForName="tile4"/>
            <dgm:constr type="h" for="ch" forName="tile4text" refType="h" refFor="ch" refForName="tile4" fact="0.75"/>
          </dgm:constrLst>
          <dgm:ruleLst/>
          <dgm:layoutNode name="tile1" styleLbl="node1">
            <dgm:alg type="sp"/>
            <dgm:shape xmlns:r="http://schemas.openxmlformats.org/officeDocument/2006/relationships" rot="270" type="round1Rect" r:blip="">
              <dgm:adjLst/>
            </dgm:shape>
            <dgm:choose name="Name2">
              <dgm:if name="Name3" func="var" arg="dir" op="equ" val="norm">
                <dgm:presOf axis="ch ch desOrSelf" ptType="node node node" st="1 1 1" cnt="1 1 0"/>
              </dgm:if>
              <dgm:else name="Name4">
                <dgm:presOf axis="ch ch desOrSelf" ptType="node node node" st="1 2 1" cnt="1 1 0"/>
              </dgm:else>
            </dgm:choose>
            <dgm:constrLst/>
            <dgm:ruleLst/>
          </dgm:layoutNode>
          <dgm:layoutNode name="tile1text" styleLbl="node1">
            <dgm:varLst>
              <dgm:chMax val="0"/>
              <dgm:chPref val="0"/>
              <dgm:bulletEnabled val="1"/>
            </dgm:varLst>
            <dgm:choose name="Name5">
              <dgm:if name="Name6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7">
                <dgm:alg type="tx"/>
              </dgm:else>
            </dgm:choose>
            <dgm:shape xmlns:r="http://schemas.openxmlformats.org/officeDocument/2006/relationships" rot="270" type="rect" r:blip="" hideGeom="1">
              <dgm:adjLst>
                <dgm:adj idx="1" val="0.2"/>
              </dgm:adjLst>
            </dgm:shape>
            <dgm:choose name="Name8">
              <dgm:if name="Name9" func="var" arg="dir" op="equ" val="norm">
                <dgm:presOf axis="ch ch desOrSelf" ptType="node node node" st="1 1 1" cnt="1 1 0"/>
              </dgm:if>
              <dgm:else name="Name10">
                <dgm:presOf axis="ch ch desOrSelf" ptType="node node node" st="1 2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2" styleLbl="node1">
            <dgm:alg type="sp"/>
            <dgm:shape xmlns:r="http://schemas.openxmlformats.org/officeDocument/2006/relationships" type="round1Rect" r:blip="">
              <dgm:adjLst/>
            </dgm:shape>
            <dgm:choose name="Name11">
              <dgm:if name="Name12" func="var" arg="dir" op="equ" val="norm">
                <dgm:presOf axis="ch ch desOrSelf" ptType="node node node" st="1 2 1" cnt="1 1 0"/>
              </dgm:if>
              <dgm:else name="Name13">
                <dgm:presOf axis="ch ch desOrSelf" ptType="node node node" st="1 1 1" cnt="1 1 0"/>
              </dgm:else>
            </dgm:choose>
            <dgm:constrLst/>
            <dgm:ruleLst/>
          </dgm:layoutNode>
          <dgm:layoutNode name="tile2text" styleLbl="node1">
            <dgm:varLst>
              <dgm:chMax val="0"/>
              <dgm:chPref val="0"/>
              <dgm:bulletEnabled val="1"/>
            </dgm:varLst>
            <dgm:choose name="Name14">
              <dgm:if name="Name15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16">
                <dgm:alg type="tx"/>
              </dgm:else>
            </dgm:choose>
            <dgm:shape xmlns:r="http://schemas.openxmlformats.org/officeDocument/2006/relationships" type="rect" r:blip="" hideGeom="1">
              <dgm:adjLst/>
            </dgm:shape>
            <dgm:choose name="Name17">
              <dgm:if name="Name18" func="var" arg="dir" op="equ" val="norm">
                <dgm:presOf axis="ch ch desOrSelf" ptType="node node node" st="1 2 1" cnt="1 1 0"/>
              </dgm:if>
              <dgm:else name="Name19">
                <dgm:presOf axis="ch ch desOrSelf" ptType="node node node" st="1 1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3" styleLbl="node1">
            <dgm:alg type="sp"/>
            <dgm:shape xmlns:r="http://schemas.openxmlformats.org/officeDocument/2006/relationships" rot="180" type="round1Rect" r:blip="">
              <dgm:adjLst/>
            </dgm:shape>
            <dgm:choose name="Name20">
              <dgm:if name="Name21" func="var" arg="dir" op="equ" val="norm">
                <dgm:presOf axis="ch ch desOrSelf" ptType="node node node" st="1 3 1" cnt="1 1 0"/>
              </dgm:if>
              <dgm:else name="Name22">
                <dgm:presOf axis="ch ch desOrSelf" ptType="node node node" st="1 4 1" cnt="1 1 0"/>
              </dgm:else>
            </dgm:choose>
            <dgm:constrLst/>
            <dgm:ruleLst/>
          </dgm:layoutNode>
          <dgm:layoutNode name="tile3text" styleLbl="node1">
            <dgm:varLst>
              <dgm:chMax val="0"/>
              <dgm:chPref val="0"/>
              <dgm:bulletEnabled val="1"/>
            </dgm:varLst>
            <dgm:choose name="Name23">
              <dgm:if name="Name24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25">
                <dgm:alg type="tx"/>
              </dgm:else>
            </dgm:choose>
            <dgm:shape xmlns:r="http://schemas.openxmlformats.org/officeDocument/2006/relationships" rot="180" type="rect" r:blip="" hideGeom="1">
              <dgm:adjLst/>
            </dgm:shape>
            <dgm:choose name="Name26">
              <dgm:if name="Name27" func="var" arg="dir" op="equ" val="norm">
                <dgm:presOf axis="ch ch desOrSelf" ptType="node node node" st="1 3 1" cnt="1 1 0"/>
              </dgm:if>
              <dgm:else name="Name28">
                <dgm:presOf axis="ch ch desOrSelf" ptType="node node node" st="1 4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4" styleLbl="node1">
            <dgm:alg type="sp"/>
            <dgm:shape xmlns:r="http://schemas.openxmlformats.org/officeDocument/2006/relationships" rot="90" type="round1Rect" r:blip="">
              <dgm:adjLst/>
            </dgm:shape>
            <dgm:choose name="Name29">
              <dgm:if name="Name30" func="var" arg="dir" op="equ" val="norm">
                <dgm:presOf axis="ch ch desOrSelf" ptType="node node node" st="1 4 1" cnt="1 1 0"/>
              </dgm:if>
              <dgm:else name="Name31">
                <dgm:presOf axis="ch ch desOrSelf" ptType="node node node" st="1 3 1" cnt="1 1 0"/>
              </dgm:else>
            </dgm:choose>
            <dgm:constrLst/>
            <dgm:ruleLst/>
          </dgm:layoutNode>
          <dgm:layoutNode name="tile4text" styleLbl="node1">
            <dgm:varLst>
              <dgm:chMax val="0"/>
              <dgm:chPref val="0"/>
              <dgm:bulletEnabled val="1"/>
            </dgm:varLst>
            <dgm:choose name="Name32">
              <dgm:if name="Name33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34">
                <dgm:alg type="tx"/>
              </dgm:else>
            </dgm:choose>
            <dgm:shape xmlns:r="http://schemas.openxmlformats.org/officeDocument/2006/relationships" rot="90" type="rect" r:blip="" hideGeom="1">
              <dgm:adjLst/>
            </dgm:shape>
            <dgm:choose name="Name35">
              <dgm:if name="Name36" func="var" arg="dir" op="equ" val="norm">
                <dgm:presOf axis="ch ch desOrSelf" ptType="node node node" st="1 4 1" cnt="1 1 0"/>
              </dgm:if>
              <dgm:else name="Name37">
                <dgm:presOf axis="ch ch desOrSelf" ptType="node node node" st="1 3 1" cnt="1 1 0"/>
              </dgm:else>
            </dgm:choose>
            <dgm:constrLst/>
            <dgm:ruleLst>
              <dgm:rule type="primFontSz" val="5" fact="NaN" max="NaN"/>
            </dgm:ruleLst>
          </dgm:layoutNode>
        </dgm:layoutNode>
        <dgm:layoutNode name="centerTile" styleLbl="fgShp">
          <dgm:varLst>
            <dgm:chMax val="0"/>
            <dgm:chPref val="0"/>
          </dgm:varLst>
          <dgm:alg type="tx"/>
          <dgm:shape xmlns:r="http://schemas.openxmlformats.org/officeDocument/2006/relationships" type="roundRect" r:blip="">
            <dgm:adjLst/>
          </dgm:shape>
          <dgm:presOf axis="ch" ptType="node" cnt="1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8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1DF8443-3C72-40AB-B7EA-888C701B667F}" type="datetimeFigureOut">
              <a:rPr lang="nb-NO" smtClean="0"/>
              <a:t>20.09.2022</a:t>
            </a:fld>
            <a:endParaRPr lang="nb-NO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AE073E2-DE77-4445-980F-3DE415846DB5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6607850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5934716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Vi har også en versjon i kursene som har med kort formålet med de ulike rollene også – så får vi litt mer tekst </a:t>
            </a:r>
          </a:p>
          <a:p>
            <a:r>
              <a:rPr lang="nb-NO"/>
              <a:t>Jeg kunne også tenke meg at vi gikk inn i noen roller og så på hva de gjør og hovedoppgaver, eks. for </a:t>
            </a:r>
            <a:r>
              <a:rPr lang="nb-NO" err="1"/>
              <a:t>fakturaansavrlig</a:t>
            </a:r>
            <a:r>
              <a:rPr lang="nb-NO"/>
              <a:t> og salgsordreoppretter </a:t>
            </a:r>
          </a:p>
          <a:p>
            <a:endParaRPr lang="nb-NO"/>
          </a:p>
          <a:p>
            <a:r>
              <a:rPr lang="nb-NO"/>
              <a:t>Fokus på </a:t>
            </a:r>
            <a:r>
              <a:rPr lang="nb-NO" err="1"/>
              <a:t>fakturaansavrlig</a:t>
            </a:r>
            <a:r>
              <a:rPr lang="nb-NO"/>
              <a:t> og salgsordreoppretter  - vise </a:t>
            </a:r>
            <a:r>
              <a:rPr lang="nb-NO" err="1"/>
              <a:t>hovedendringer</a:t>
            </a:r>
            <a:r>
              <a:rPr lang="nb-NO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1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3655486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Christin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EC1D193-156D-49E0-8F8B-B7BDA735AEBD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4626151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Christin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EC1D193-156D-49E0-8F8B-B7BDA735AEBD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6866756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Vi har også en versjon i kursene som har med kort formålet med de ulike rollene også – så får vi litt mer tekst </a:t>
            </a:r>
          </a:p>
          <a:p>
            <a:r>
              <a:rPr lang="nb-NO"/>
              <a:t>Jeg kunne også tenke meg at vi gikk inn i noen roller og så på hva de gjør og hovedoppgaver, eks. for </a:t>
            </a:r>
            <a:r>
              <a:rPr lang="nb-NO" err="1"/>
              <a:t>fakturaansavrlig</a:t>
            </a:r>
            <a:r>
              <a:rPr lang="nb-NO"/>
              <a:t> og salgsordreoppretter </a:t>
            </a:r>
          </a:p>
          <a:p>
            <a:endParaRPr lang="nb-NO"/>
          </a:p>
          <a:p>
            <a:r>
              <a:rPr lang="nb-NO"/>
              <a:t>Fokus på </a:t>
            </a:r>
            <a:r>
              <a:rPr lang="nb-NO" err="1"/>
              <a:t>fakturaansavrlig</a:t>
            </a:r>
            <a:r>
              <a:rPr lang="nb-NO"/>
              <a:t> og salgsordreoppretter  - vise </a:t>
            </a:r>
            <a:r>
              <a:rPr lang="nb-NO" err="1"/>
              <a:t>hovedendringer</a:t>
            </a:r>
            <a:r>
              <a:rPr lang="nb-NO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1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9528850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err="1">
                <a:ea typeface="Calibri"/>
                <a:cs typeface="Calibri"/>
              </a:rPr>
              <a:t>Vurdere</a:t>
            </a:r>
            <a:r>
              <a:rPr lang="en-US">
                <a:ea typeface="Calibri"/>
                <a:cs typeface="Calibri"/>
              </a:rPr>
              <a:t> om vi </a:t>
            </a:r>
            <a:r>
              <a:rPr lang="en-US" err="1">
                <a:ea typeface="Calibri"/>
                <a:cs typeface="Calibri"/>
              </a:rPr>
              <a:t>skal</a:t>
            </a:r>
            <a:r>
              <a:rPr lang="en-US">
                <a:ea typeface="Calibri"/>
                <a:cs typeface="Calibri"/>
              </a:rPr>
              <a:t> ha med </a:t>
            </a:r>
            <a:r>
              <a:rPr lang="en-US" err="1">
                <a:ea typeface="Calibri"/>
                <a:cs typeface="Calibri"/>
              </a:rPr>
              <a:t>dette</a:t>
            </a:r>
            <a:r>
              <a:rPr lang="en-US">
                <a:ea typeface="Calibri"/>
                <a:cs typeface="Calibri"/>
              </a:rPr>
              <a:t>. Dersom det er </a:t>
            </a:r>
            <a:r>
              <a:rPr lang="en-US" err="1">
                <a:ea typeface="Calibri"/>
                <a:cs typeface="Calibri"/>
              </a:rPr>
              <a:t>noen</a:t>
            </a:r>
            <a:r>
              <a:rPr lang="en-US">
                <a:ea typeface="Calibri"/>
                <a:cs typeface="Calibri"/>
              </a:rPr>
              <a:t> </a:t>
            </a:r>
            <a:r>
              <a:rPr lang="en-US" err="1">
                <a:ea typeface="Calibri"/>
                <a:cs typeface="Calibri"/>
              </a:rPr>
              <a:t>større</a:t>
            </a:r>
            <a:r>
              <a:rPr lang="en-US">
                <a:ea typeface="Calibri"/>
                <a:cs typeface="Calibri"/>
              </a:rPr>
              <a:t> </a:t>
            </a:r>
            <a:r>
              <a:rPr lang="en-US" err="1">
                <a:ea typeface="Calibri"/>
                <a:cs typeface="Calibri"/>
              </a:rPr>
              <a:t>endrer</a:t>
            </a:r>
            <a:r>
              <a:rPr lang="en-US">
                <a:ea typeface="Calibri"/>
                <a:cs typeface="Calibri"/>
              </a:rPr>
              <a:t>, </a:t>
            </a:r>
            <a:r>
              <a:rPr lang="en-US" err="1">
                <a:ea typeface="Calibri"/>
                <a:cs typeface="Calibri"/>
              </a:rPr>
              <a:t>så</a:t>
            </a:r>
            <a:r>
              <a:rPr lang="en-US">
                <a:ea typeface="Calibri"/>
                <a:cs typeface="Calibri"/>
              </a:rPr>
              <a:t> </a:t>
            </a:r>
            <a:r>
              <a:rPr lang="en-US" err="1">
                <a:ea typeface="Calibri"/>
                <a:cs typeface="Calibri"/>
              </a:rPr>
              <a:t>tenker</a:t>
            </a:r>
            <a:r>
              <a:rPr lang="en-US">
                <a:ea typeface="Calibri"/>
                <a:cs typeface="Calibri"/>
              </a:rPr>
              <a:t> </a:t>
            </a:r>
            <a:r>
              <a:rPr lang="en-US" err="1">
                <a:ea typeface="Calibri"/>
                <a:cs typeface="Calibri"/>
              </a:rPr>
              <a:t>jeg</a:t>
            </a:r>
            <a:r>
              <a:rPr lang="en-US">
                <a:ea typeface="Calibri"/>
                <a:cs typeface="Calibri"/>
              </a:rPr>
              <a:t> at det </a:t>
            </a:r>
            <a:r>
              <a:rPr lang="en-US" err="1">
                <a:ea typeface="Calibri"/>
                <a:cs typeface="Calibri"/>
              </a:rPr>
              <a:t>kan</a:t>
            </a:r>
            <a:r>
              <a:rPr lang="en-US">
                <a:ea typeface="Calibri"/>
                <a:cs typeface="Calibri"/>
              </a:rPr>
              <a:t> </a:t>
            </a:r>
            <a:r>
              <a:rPr lang="en-US" err="1">
                <a:ea typeface="Calibri"/>
                <a:cs typeface="Calibri"/>
              </a:rPr>
              <a:t>være</a:t>
            </a:r>
            <a:r>
              <a:rPr lang="en-US">
                <a:ea typeface="Calibri"/>
                <a:cs typeface="Calibri"/>
              </a:rPr>
              <a:t> </a:t>
            </a:r>
            <a:r>
              <a:rPr lang="en-US" err="1">
                <a:ea typeface="Calibri"/>
                <a:cs typeface="Calibri"/>
              </a:rPr>
              <a:t>verdt</a:t>
            </a:r>
            <a:r>
              <a:rPr lang="en-US">
                <a:ea typeface="Calibri"/>
                <a:cs typeface="Calibri"/>
              </a:rPr>
              <a:t> å ta med. Men er </a:t>
            </a:r>
            <a:r>
              <a:rPr lang="en-US" err="1">
                <a:ea typeface="Calibri"/>
                <a:cs typeface="Calibri"/>
              </a:rPr>
              <a:t>også</a:t>
            </a:r>
            <a:r>
              <a:rPr lang="en-US">
                <a:ea typeface="Calibri"/>
                <a:cs typeface="Calibri"/>
              </a:rPr>
              <a:t> et </a:t>
            </a:r>
            <a:r>
              <a:rPr lang="en-US" err="1">
                <a:ea typeface="Calibri"/>
                <a:cs typeface="Calibri"/>
              </a:rPr>
              <a:t>tidsspørsmål</a:t>
            </a:r>
            <a:r>
              <a:rPr lang="en-US">
                <a:ea typeface="Calibri"/>
                <a:cs typeface="Calibri"/>
              </a:rPr>
              <a:t>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E073E2-DE77-4445-980F-3DE415846DB5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3005332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Om opplæring: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/>
              <a:t>Legge inn </a:t>
            </a:r>
            <a:r>
              <a:rPr lang="nb-NO" err="1"/>
              <a:t>slidene</a:t>
            </a:r>
            <a:r>
              <a:rPr lang="nb-NO"/>
              <a:t> fra innføringsledermøte o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nb-NO"/>
          </a:p>
          <a:p>
            <a:pPr marL="0" indent="0">
              <a:buFont typeface="Arial" panose="020B0604020202020204" pitchFamily="34" charset="0"/>
              <a:buNone/>
            </a:pPr>
            <a:r>
              <a:rPr lang="nb-NO"/>
              <a:t>Om prosessen: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nb-NO"/>
              <a:t>* Foreslår å hente mye inspirasjon fra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1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292535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Generell modell for opplæring i BOTT ØL </a:t>
            </a:r>
          </a:p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52B9380-F281-4D6C-8840-6EA95F8EE5CD}" type="slidenum">
              <a:rPr lang="nb-NO" smtClean="0"/>
              <a:t>1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8027114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1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9469710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>
                <a:solidFill>
                  <a:srgbClr val="FF0000"/>
                </a:solidFill>
              </a:rPr>
              <a:t>Roller som bare innehas av medarbeidere i Økonomiavdelingen vises ikke h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52B9380-F281-4D6C-8840-6EA95F8EE5CD}" type="slidenum">
              <a:rPr lang="nb-NO" smtClean="0"/>
              <a:t>1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8814943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>
                <a:solidFill>
                  <a:srgbClr val="FF0000"/>
                </a:solidFill>
              </a:rPr>
              <a:t>Roller som bare innehas av medarbeidere i Økonomiavdelingen vises ikke h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52B9380-F281-4D6C-8840-6EA95F8EE5CD}" type="slidenum">
              <a:rPr lang="nb-NO" smtClean="0"/>
              <a:t>1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007759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192949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>
                <a:solidFill>
                  <a:srgbClr val="FF0000"/>
                </a:solidFill>
              </a:rPr>
              <a:t>Oppdatert 15.08.22</a:t>
            </a:r>
          </a:p>
          <a:p>
            <a:endParaRPr lang="nb-NO">
              <a:solidFill>
                <a:srgbClr val="FF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52B9380-F281-4D6C-8840-6EA95F8EE5CD}" type="slidenum">
              <a:rPr lang="nb-NO" smtClean="0"/>
              <a:t>2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7853792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2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0815116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NB! Første gang du skal melde deg på e-læring må du ha logget det på mitt UiB med Feide-pålogging før du starter kurset. Veiledning på Innsid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>
                <a:solidFill>
                  <a:srgbClr val="FF0000"/>
                </a:solidFill>
              </a:rPr>
              <a:t>Skal salgsordreoppretter ta begge kursene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>
                <a:solidFill>
                  <a:srgbClr val="FF0000"/>
                </a:solidFill>
              </a:rPr>
              <a:t>Hva gjør de dersom de har spørsmål om kurset før neste møte?</a:t>
            </a:r>
          </a:p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2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9361447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NB! Mobilnummer </a:t>
            </a:r>
            <a:r>
              <a:rPr lang="nb-NO" err="1"/>
              <a:t>pga</a:t>
            </a:r>
            <a:r>
              <a:rPr lang="nb-NO"/>
              <a:t> DFØ bruker 2 faktor autentiser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2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27067905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2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3020356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2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8224040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Om opplæring: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/>
              <a:t>Legge inn </a:t>
            </a:r>
            <a:r>
              <a:rPr lang="nb-NO" err="1"/>
              <a:t>slidene</a:t>
            </a:r>
            <a:r>
              <a:rPr lang="nb-NO"/>
              <a:t> fra innføringsledermøte o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nb-NO"/>
          </a:p>
          <a:p>
            <a:pPr marL="0" indent="0">
              <a:buFont typeface="Arial" panose="020B0604020202020204" pitchFamily="34" charset="0"/>
              <a:buNone/>
            </a:pPr>
            <a:r>
              <a:rPr lang="nb-NO"/>
              <a:t>Om prosessen: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nb-NO"/>
              <a:t>* Foreslår å hente mye inspirasjon fra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2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3772549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Kanskje også litt om </a:t>
            </a:r>
            <a:r>
              <a:rPr lang="nb-NO" err="1"/>
              <a:t>om</a:t>
            </a:r>
            <a:r>
              <a:rPr lang="nb-NO"/>
              <a:t> prosessrådgivers rolle – hva man kan forvente fra de og hva som er hovedformål med den rollen i lag med prosessansvarlig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/>
              <a:t>- Bindeledd mellom prosessansvarlig og nivå 2/3 + sparringspartner lokalt og inn mot prosessansvarlig </a:t>
            </a:r>
            <a:br>
              <a:rPr lang="nb-NO"/>
            </a:br>
            <a:br>
              <a:rPr lang="nb-NO"/>
            </a:br>
            <a:r>
              <a:rPr lang="nb-NO"/>
              <a:t>Ekspert og kollegaveileder, bidra i forbedring av prosessen: </a:t>
            </a:r>
            <a:br>
              <a:rPr lang="nb-NO"/>
            </a:br>
            <a:r>
              <a:rPr lang="nb-NO" sz="1100"/>
              <a:t>Fange opp og kommunisere innspill, behov og utfordringer i den enkelte prosess til prosessansvarlig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100"/>
              <a:t>Være en rådgiver/sparringspartner for fakultetene i opplæring og innføring av roller og prosess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100"/>
              <a:t>Lokal endringsag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100"/>
              <a:t>Starte prosess- og rolleopplæring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nb-NO" sz="1100"/>
              <a:t>Sette seg inn i og forstå prosessdokumentasjon for din hovedprosess på BOTT-samarbeidet.no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nb-NO" sz="1100"/>
              <a:t>Ta eventuelle E-læringer for å forstå intensjonen med sentrale prosessroller for din hovedprosess </a:t>
            </a:r>
          </a:p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E073E2-DE77-4445-980F-3DE415846DB5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56012214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Om opplæring: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/>
              <a:t>Legge inn </a:t>
            </a:r>
            <a:r>
              <a:rPr lang="nb-NO" err="1"/>
              <a:t>slidene</a:t>
            </a:r>
            <a:r>
              <a:rPr lang="nb-NO"/>
              <a:t> fra innføringsledermøte o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nb-NO"/>
          </a:p>
          <a:p>
            <a:pPr marL="0" indent="0">
              <a:buFont typeface="Arial" panose="020B0604020202020204" pitchFamily="34" charset="0"/>
              <a:buNone/>
            </a:pPr>
            <a:r>
              <a:rPr lang="nb-NO"/>
              <a:t>Om prosessen: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nb-NO"/>
              <a:t>* Foreslår å hente mye inspirasjon fra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3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220858540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E073E2-DE77-4445-980F-3DE415846DB5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477451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Om opplæring: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/>
              <a:t>Legge inn </a:t>
            </a:r>
            <a:r>
              <a:rPr lang="nb-NO" err="1"/>
              <a:t>slidene</a:t>
            </a:r>
            <a:r>
              <a:rPr lang="nb-NO"/>
              <a:t> fra innføringsledermøte o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nb-NO"/>
          </a:p>
          <a:p>
            <a:pPr marL="0" indent="0">
              <a:buFont typeface="Arial" panose="020B0604020202020204" pitchFamily="34" charset="0"/>
              <a:buNone/>
            </a:pPr>
            <a:r>
              <a:rPr lang="nb-NO"/>
              <a:t>Om prosessen: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nb-NO"/>
              <a:t>* Foreslår å hente mye inspirasjon fra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2888195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5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AA06FE-FD85-4F94-A508-555A8DF5A76A}" type="slidenum"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50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7878122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/>
              <a:t>Viktig å formidle hvorfor vi gjør dette og </a:t>
            </a:r>
            <a:r>
              <a:rPr lang="nb-NO" err="1"/>
              <a:t>forventningstyre</a:t>
            </a:r>
            <a:r>
              <a:rPr lang="nb-NO"/>
              <a:t> </a:t>
            </a:r>
            <a:r>
              <a:rPr lang="nb-NO" err="1"/>
              <a:t>mht</a:t>
            </a:r>
            <a:r>
              <a:rPr lang="nb-NO"/>
              <a:t> utfordringer knyttet til kapasitet i </a:t>
            </a:r>
            <a:r>
              <a:rPr lang="nb-NO" err="1"/>
              <a:t>organisjonen</a:t>
            </a:r>
            <a:r>
              <a:rPr lang="nb-NO"/>
              <a:t>, endringsbehov </a:t>
            </a:r>
            <a:r>
              <a:rPr lang="nb-NO" err="1"/>
              <a:t>osv</a:t>
            </a:r>
            <a:endParaRPr lang="nb-NO"/>
          </a:p>
          <a:p>
            <a:endParaRPr lang="nb-NO"/>
          </a:p>
          <a:p>
            <a:r>
              <a:rPr lang="nb-NO"/>
              <a:t>Formålet med BOTT: </a:t>
            </a:r>
            <a:r>
              <a:rPr lang="nb-NO" b="0" i="0">
                <a:solidFill>
                  <a:srgbClr val="444444"/>
                </a:solidFill>
                <a:effectLst/>
                <a:latin typeface="Arial" panose="020B0604020202020204" pitchFamily="34" charset="0"/>
              </a:rPr>
              <a:t>Å styrke universitetenes evne til å levere administrative og tekniske tjenester som støtter opp om primærvirksomheten.</a:t>
            </a:r>
            <a:endParaRPr lang="nb-NO"/>
          </a:p>
          <a:p>
            <a:endParaRPr lang="nb-NO"/>
          </a:p>
          <a:p>
            <a:r>
              <a:rPr lang="nb-NO"/>
              <a:t>Understreke hvorfor vi gjør dette: </a:t>
            </a:r>
          </a:p>
          <a:p>
            <a:pPr marL="228600" indent="-228600">
              <a:buAutoNum type="arabicParenR"/>
            </a:pPr>
            <a:r>
              <a:rPr lang="nb-NO"/>
              <a:t>Utdatert systemer man ikke får </a:t>
            </a:r>
            <a:r>
              <a:rPr lang="nb-NO" err="1"/>
              <a:t>systemstøtte</a:t>
            </a:r>
            <a:r>
              <a:rPr lang="nb-NO"/>
              <a:t> på lenger</a:t>
            </a:r>
          </a:p>
          <a:p>
            <a:pPr marL="228600" indent="-228600">
              <a:buAutoNum type="arabicParenR"/>
            </a:pPr>
            <a:r>
              <a:rPr lang="nb-NO"/>
              <a:t>Samarbeid – med muligheter for gevinster på sikt</a:t>
            </a:r>
          </a:p>
          <a:p>
            <a:pPr marL="228600" indent="-228600">
              <a:buAutoNum type="arabicParenR"/>
            </a:pPr>
            <a:r>
              <a:rPr lang="nb-NO"/>
              <a:t>På noen viktige områder for vi skreddersydd en del funksjon</a:t>
            </a:r>
          </a:p>
          <a:p>
            <a:pPr marL="228600" indent="-228600">
              <a:buAutoNum type="arabicParenR"/>
            </a:pPr>
            <a:r>
              <a:rPr lang="nb-NO"/>
              <a:t>Mot et mer </a:t>
            </a:r>
            <a:r>
              <a:rPr lang="nb-NO" err="1"/>
              <a:t>standarisert</a:t>
            </a:r>
            <a:r>
              <a:rPr lang="nb-NO"/>
              <a:t> og felles NTNU</a:t>
            </a:r>
          </a:p>
          <a:p>
            <a:pPr marL="228600" indent="-228600">
              <a:buAutoNum type="arabicParenR"/>
            </a:pPr>
            <a:endParaRPr lang="nb-NO"/>
          </a:p>
          <a:p>
            <a:pPr algn="l" fontAlgn="base"/>
            <a:r>
              <a:rPr lang="nb-NO" b="0" i="0">
                <a:solidFill>
                  <a:srgbClr val="444444"/>
                </a:solidFill>
                <a:effectLst/>
                <a:latin typeface="Poppins" panose="00000500000000000000" pitchFamily="50" charset="0"/>
              </a:rPr>
              <a:t>Ved at vi etablerer felles arbeidsprosesser, rutiner og tjenester, vil våre ansatte oppleve lik administrativ praksis på tvers av universitetene.  </a:t>
            </a:r>
          </a:p>
          <a:p>
            <a:pPr algn="l" fontAlgn="base"/>
            <a:r>
              <a:rPr lang="nb-NO" b="0" i="0">
                <a:solidFill>
                  <a:srgbClr val="444444"/>
                </a:solidFill>
                <a:effectLst/>
                <a:latin typeface="Poppins" panose="00000500000000000000" pitchFamily="50" charset="0"/>
              </a:rPr>
              <a:t>Samarbeidet skal også gjøre universitetssektoren mer samkjørt, som igjen vil gjøre det lettere med samarbeid på tvers av institusjonene.</a:t>
            </a:r>
          </a:p>
          <a:p>
            <a:pPr algn="l" fontAlgn="base"/>
            <a:endParaRPr lang="nb-NO" b="0" i="0">
              <a:solidFill>
                <a:srgbClr val="444444"/>
              </a:solidFill>
              <a:effectLst/>
              <a:latin typeface="Poppins" panose="00000500000000000000" pitchFamily="50" charset="0"/>
            </a:endParaRPr>
          </a:p>
          <a:p>
            <a:pPr algn="l" fontAlgn="base"/>
            <a:r>
              <a:rPr lang="nb-NO" b="0" i="0">
                <a:solidFill>
                  <a:srgbClr val="444444"/>
                </a:solidFill>
                <a:effectLst/>
                <a:latin typeface="Poppins" panose="00000500000000000000" pitchFamily="50" charset="0"/>
              </a:rPr>
              <a:t>Må også huske på at ingen system er så god som de er den første dagen </a:t>
            </a:r>
          </a:p>
          <a:p>
            <a:pPr marL="0" indent="0">
              <a:buNone/>
            </a:pPr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6E2E074-5176-4753-9A9B-4C8257B90D1B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2846378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04663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Om opplæring: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/>
              <a:t>Legge inn </a:t>
            </a:r>
            <a:r>
              <a:rPr lang="nb-NO" err="1"/>
              <a:t>slidene</a:t>
            </a:r>
            <a:r>
              <a:rPr lang="nb-NO"/>
              <a:t> fra innføringsledermøte o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nb-NO"/>
          </a:p>
          <a:p>
            <a:pPr marL="0" indent="0">
              <a:buFont typeface="Arial" panose="020B0604020202020204" pitchFamily="34" charset="0"/>
              <a:buNone/>
            </a:pPr>
            <a:r>
              <a:rPr lang="nb-NO"/>
              <a:t>Om prosessen: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nb-NO"/>
              <a:t>* Foreslår å hente mye inspirasjon fra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7617839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Christin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E073E2-DE77-4445-980F-3DE415846DB5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5526226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Gå gjennom </a:t>
            </a:r>
            <a:r>
              <a:rPr lang="nb-NO" err="1"/>
              <a:t>hovedflyt</a:t>
            </a:r>
            <a:r>
              <a:rPr lang="nb-NO"/>
              <a:t> – alternativet er noe som er enda mer </a:t>
            </a:r>
            <a:r>
              <a:rPr lang="nb-NO" err="1"/>
              <a:t>intitivt</a:t>
            </a:r>
            <a:r>
              <a:rPr lang="nb-NO"/>
              <a:t>  - ref. det man finner i e-læringskurs</a:t>
            </a:r>
          </a:p>
          <a:p>
            <a:r>
              <a:rPr lang="nb-NO"/>
              <a:t>Kanskje skrive/ si litt kort om hva de ulike rollene gjør og tydeliggjøre hvilke av rollene som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851751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openxmlformats.org/officeDocument/2006/relationships/image" Target="../media/image5.emf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368315" y="2008061"/>
            <a:ext cx="7772400" cy="675821"/>
          </a:xfr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368315" y="2733866"/>
            <a:ext cx="7772400" cy="131445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10001595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9838506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03183196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368315" y="2008062"/>
            <a:ext cx="7772400" cy="646331"/>
          </a:xfrm>
          <a:prstGeom prst="rect">
            <a:avLst/>
          </a:prstGeo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368315" y="2733866"/>
            <a:ext cx="7772400" cy="131445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16729983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000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000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5" y="298339"/>
            <a:ext cx="8418747" cy="648512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1385" y="1010266"/>
            <a:ext cx="8418747" cy="3613774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81978825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323439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241294" y="4815936"/>
            <a:ext cx="426966" cy="273844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algn="r"/>
            <a:fld id="{91853A39-49B3-554A-AE82-85611CEBD8E3}" type="slidenum">
              <a:rPr lang="nb-NO" smtClean="0">
                <a:latin typeface="Arial"/>
                <a:cs typeface="Arial"/>
              </a:rPr>
              <a:pPr algn="r"/>
              <a:t>‹#›</a:t>
            </a:fld>
            <a:endParaRPr lang="nb-NO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0055261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43020697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959970DA-EE83-6D4C-A7D9-242707344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19" y="205980"/>
            <a:ext cx="8229600" cy="646331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22250DC5-D43E-DF47-8946-580345545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80220" y="1444343"/>
            <a:ext cx="4040188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4938533B-98B9-FE49-BD38-3FE354B5DB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468046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AAE60141-BB9F-7A45-AD28-419E734080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468046" y="1444343"/>
            <a:ext cx="4041775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DE388575-68AB-9547-8F46-F2D9AF39D5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0219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</p:spTree>
    <p:extLst>
      <p:ext uri="{BB962C8B-B14F-4D97-AF65-F5344CB8AC3E}">
        <p14:creationId xmlns:p14="http://schemas.microsoft.com/office/powerpoint/2010/main" val="52877700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3001395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6507702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2" y="368439"/>
            <a:ext cx="3008313" cy="707886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04789"/>
            <a:ext cx="5111750" cy="438983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2" y="1076327"/>
            <a:ext cx="3008313" cy="35182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7138481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41800" y="2305050"/>
            <a:ext cx="647700" cy="523875"/>
          </a:xfrm>
          <a:prstGeom prst="rect">
            <a:avLst/>
          </a:prstGeom>
        </p:spPr>
      </p:pic>
      <p:pic>
        <p:nvPicPr>
          <p:cNvPr id="8" name="Bild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41800" y="2305050"/>
            <a:ext cx="647700" cy="523875"/>
          </a:xfrm>
          <a:prstGeom prst="rect">
            <a:avLst/>
          </a:prstGeom>
        </p:spPr>
      </p:pic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9" name="Tittel 1">
            <a:extLst>
              <a:ext uri="{FF2B5EF4-FFF2-40B4-BE49-F238E27FC236}">
                <a16:creationId xmlns:a16="http://schemas.microsoft.com/office/drawing/2014/main" id="{2344BB71-0781-BE4B-991A-D131BC6BED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573" y="205979"/>
            <a:ext cx="8381997" cy="646331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0" name="Plassholder for innhold 2">
            <a:extLst>
              <a:ext uri="{FF2B5EF4-FFF2-40B4-BE49-F238E27FC236}">
                <a16:creationId xmlns:a16="http://schemas.microsoft.com/office/drawing/2014/main" id="{8AF6411C-65FD-A24C-9C3D-9E5091552B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6573" y="928914"/>
            <a:ext cx="8381997" cy="3665709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06001982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3625395"/>
            <a:ext cx="5486400" cy="40011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025504"/>
            <a:ext cx="5486400" cy="6036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25524168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40077617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7394139" y="205980"/>
            <a:ext cx="1292662" cy="4388644"/>
          </a:xfrm>
          <a:prstGeom prst="rect">
            <a:avLst/>
          </a:prstGeo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05980"/>
            <a:ext cx="6019800" cy="4388644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01425828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 page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768277"/>
              </p:ext>
            </p:ext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9755956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368315" y="2008062"/>
            <a:ext cx="7772400" cy="646331"/>
          </a:xfrm>
          <a:prstGeom prst="rect">
            <a:avLst/>
          </a:prstGeo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368315" y="2733866"/>
            <a:ext cx="7772400" cy="131445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67939139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000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000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5" y="298339"/>
            <a:ext cx="8418747" cy="648512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1385" y="1010266"/>
            <a:ext cx="8418747" cy="3613774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4477592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323439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241294" y="4815936"/>
            <a:ext cx="426966" cy="273844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algn="r"/>
            <a:fld id="{91853A39-49B3-554A-AE82-85611CEBD8E3}" type="slidenum">
              <a:rPr lang="nb-NO" smtClean="0">
                <a:latin typeface="Arial"/>
                <a:cs typeface="Arial"/>
              </a:rPr>
              <a:pPr algn="r"/>
              <a:t>‹#›</a:t>
            </a:fld>
            <a:endParaRPr lang="nb-NO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0672542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62269998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959970DA-EE83-6D4C-A7D9-242707344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19" y="205980"/>
            <a:ext cx="8229600" cy="646331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22250DC5-D43E-DF47-8946-580345545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80220" y="1444343"/>
            <a:ext cx="4040188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4938533B-98B9-FE49-BD38-3FE354B5DB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468046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AAE60141-BB9F-7A45-AD28-419E734080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468046" y="1444343"/>
            <a:ext cx="4041775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DE388575-68AB-9547-8F46-F2D9AF39D5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0219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</p:spTree>
    <p:extLst>
      <p:ext uri="{BB962C8B-B14F-4D97-AF65-F5344CB8AC3E}">
        <p14:creationId xmlns:p14="http://schemas.microsoft.com/office/powerpoint/2010/main" val="239576663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15103732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98246049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0848573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2" y="368439"/>
            <a:ext cx="3008313" cy="707886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04789"/>
            <a:ext cx="5111750" cy="438983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2" y="1076327"/>
            <a:ext cx="3008313" cy="35182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56485339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3625395"/>
            <a:ext cx="5486400" cy="40011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025504"/>
            <a:ext cx="5486400" cy="6036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72224869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65874274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7394139" y="205980"/>
            <a:ext cx="1292662" cy="4388644"/>
          </a:xfrm>
          <a:prstGeom prst="rect">
            <a:avLst/>
          </a:prstGeo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05980"/>
            <a:ext cx="6019800" cy="4388644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72333494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488701"/>
            <a:ext cx="8371762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9" y="238125"/>
            <a:ext cx="8371762" cy="5238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275160"/>
            <a:ext cx="8374062" cy="350924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E3FFE4A-BC3E-4A6F-A2F7-DAF075A045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0A7409F-6336-4A34-BB77-9D5FCA08C53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E3CCE21-0F43-465D-A95C-235E160BA08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5966943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368315" y="2008063"/>
            <a:ext cx="7772400" cy="646331"/>
          </a:xfrm>
          <a:prstGeom prst="rect">
            <a:avLst/>
          </a:prstGeo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368315" y="2733866"/>
            <a:ext cx="7772400" cy="131445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375379400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000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000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5" y="298339"/>
            <a:ext cx="8418747" cy="648512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1385" y="1010266"/>
            <a:ext cx="8418747" cy="3613774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64707599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305177"/>
            <a:ext cx="7772400" cy="1323439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5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06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241294" y="4815936"/>
            <a:ext cx="426966" cy="273844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algn="r"/>
            <a:fld id="{91853A39-49B3-554A-AE82-85611CEBD8E3}" type="slidenum">
              <a:rPr lang="nb-NO" smtClean="0">
                <a:latin typeface="Arial"/>
                <a:cs typeface="Arial"/>
              </a:rPr>
              <a:pPr algn="r"/>
              <a:t>‹#›</a:t>
            </a:fld>
            <a:endParaRPr lang="nb-NO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7820695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1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715146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37291424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959970DA-EE83-6D4C-A7D9-242707344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19" y="205981"/>
            <a:ext cx="8229600" cy="646331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22250DC5-D43E-DF47-8946-580345545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80221" y="1444344"/>
            <a:ext cx="4040188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4938533B-98B9-FE49-BD38-3FE354B5DB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468047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178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4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AAE60141-BB9F-7A45-AD28-419E734080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468047" y="1444344"/>
            <a:ext cx="4041775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DE388575-68AB-9547-8F46-F2D9AF39D5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0220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178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4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</p:spTree>
    <p:extLst>
      <p:ext uri="{BB962C8B-B14F-4D97-AF65-F5344CB8AC3E}">
        <p14:creationId xmlns:p14="http://schemas.microsoft.com/office/powerpoint/2010/main" val="66459916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1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232294946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985977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2" y="368439"/>
            <a:ext cx="3008313" cy="707886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04790"/>
            <a:ext cx="5111750" cy="438983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2" y="1076328"/>
            <a:ext cx="3008313" cy="35182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78" indent="0">
              <a:buNone/>
              <a:defRPr sz="1200"/>
            </a:lvl2pPr>
            <a:lvl3pPr marL="914355" indent="0">
              <a:buNone/>
              <a:defRPr sz="1000"/>
            </a:lvl3pPr>
            <a:lvl4pPr marL="1371532" indent="0">
              <a:buNone/>
              <a:defRPr sz="900"/>
            </a:lvl4pPr>
            <a:lvl5pPr marL="1828709" indent="0">
              <a:buNone/>
              <a:defRPr sz="900"/>
            </a:lvl5pPr>
            <a:lvl6pPr marL="2285886" indent="0">
              <a:buNone/>
              <a:defRPr sz="900"/>
            </a:lvl6pPr>
            <a:lvl7pPr marL="2743064" indent="0">
              <a:buNone/>
              <a:defRPr sz="900"/>
            </a:lvl7pPr>
            <a:lvl8pPr marL="3200240" indent="0">
              <a:buNone/>
              <a:defRPr sz="900"/>
            </a:lvl8pPr>
            <a:lvl9pPr marL="3657418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08504808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3625395"/>
            <a:ext cx="5486400" cy="40011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178" indent="0">
              <a:buNone/>
              <a:defRPr sz="2800"/>
            </a:lvl2pPr>
            <a:lvl3pPr marL="914355" indent="0">
              <a:buNone/>
              <a:defRPr sz="2400"/>
            </a:lvl3pPr>
            <a:lvl4pPr marL="1371532" indent="0">
              <a:buNone/>
              <a:defRPr sz="2000"/>
            </a:lvl4pPr>
            <a:lvl5pPr marL="1828709" indent="0">
              <a:buNone/>
              <a:defRPr sz="2000"/>
            </a:lvl5pPr>
            <a:lvl6pPr marL="2285886" indent="0">
              <a:buNone/>
              <a:defRPr sz="2000"/>
            </a:lvl6pPr>
            <a:lvl7pPr marL="2743064" indent="0">
              <a:buNone/>
              <a:defRPr sz="2000"/>
            </a:lvl7pPr>
            <a:lvl8pPr marL="3200240" indent="0">
              <a:buNone/>
              <a:defRPr sz="2000"/>
            </a:lvl8pPr>
            <a:lvl9pPr marL="3657418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025505"/>
            <a:ext cx="5486400" cy="6036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78" indent="0">
              <a:buNone/>
              <a:defRPr sz="1200"/>
            </a:lvl2pPr>
            <a:lvl3pPr marL="914355" indent="0">
              <a:buNone/>
              <a:defRPr sz="1000"/>
            </a:lvl3pPr>
            <a:lvl4pPr marL="1371532" indent="0">
              <a:buNone/>
              <a:defRPr sz="900"/>
            </a:lvl4pPr>
            <a:lvl5pPr marL="1828709" indent="0">
              <a:buNone/>
              <a:defRPr sz="900"/>
            </a:lvl5pPr>
            <a:lvl6pPr marL="2285886" indent="0">
              <a:buNone/>
              <a:defRPr sz="900"/>
            </a:lvl6pPr>
            <a:lvl7pPr marL="2743064" indent="0">
              <a:buNone/>
              <a:defRPr sz="900"/>
            </a:lvl7pPr>
            <a:lvl8pPr marL="3200240" indent="0">
              <a:buNone/>
              <a:defRPr sz="900"/>
            </a:lvl8pPr>
            <a:lvl9pPr marL="3657418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72429538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1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93661201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7394139" y="205980"/>
            <a:ext cx="1292662" cy="4388644"/>
          </a:xfrm>
          <a:prstGeom prst="rect">
            <a:avLst/>
          </a:prstGeo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05980"/>
            <a:ext cx="6019800" cy="4388644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75470674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368315" y="2008062"/>
            <a:ext cx="7772400" cy="646331"/>
          </a:xfrm>
          <a:prstGeom prst="rect">
            <a:avLst/>
          </a:prstGeo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368315" y="2733866"/>
            <a:ext cx="7772400" cy="131445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180035713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000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000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5" y="298339"/>
            <a:ext cx="8418747" cy="648512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1385" y="1010266"/>
            <a:ext cx="8418747" cy="3613774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58421514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323439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241294" y="4815936"/>
            <a:ext cx="426966" cy="273844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algn="r"/>
            <a:fld id="{91853A39-49B3-554A-AE82-85611CEBD8E3}" type="slidenum">
              <a:rPr lang="nb-NO" smtClean="0">
                <a:latin typeface="Arial"/>
                <a:cs typeface="Arial"/>
              </a:rPr>
              <a:pPr algn="r"/>
              <a:t>‹#›</a:t>
            </a:fld>
            <a:endParaRPr lang="nb-NO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4767269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E56B820D-AB7F-5A44-8020-5D09944AA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19" y="205979"/>
            <a:ext cx="8229600" cy="646331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AE7B768E-548A-B44A-978C-328D3FD0988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80219" y="1444342"/>
            <a:ext cx="4040188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37E158BE-6530-394F-B377-3FE8EA1DC6D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468045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9F076E42-9075-F143-9FC0-531C50D5489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468045" y="1444342"/>
            <a:ext cx="4041775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BF3EDB8E-E4B3-2B49-9493-A3FEF0A85B7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0218" y="964521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70223664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56614382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959970DA-EE83-6D4C-A7D9-242707344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19" y="205980"/>
            <a:ext cx="8229600" cy="646331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22250DC5-D43E-DF47-8946-580345545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80220" y="1444343"/>
            <a:ext cx="4040188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4938533B-98B9-FE49-BD38-3FE354B5DB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468046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AAE60141-BB9F-7A45-AD28-419E734080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468046" y="1444343"/>
            <a:ext cx="4041775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DE388575-68AB-9547-8F46-F2D9AF39D5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0219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</p:spTree>
    <p:extLst>
      <p:ext uri="{BB962C8B-B14F-4D97-AF65-F5344CB8AC3E}">
        <p14:creationId xmlns:p14="http://schemas.microsoft.com/office/powerpoint/2010/main" val="270811076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154093083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3792179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2" y="368439"/>
            <a:ext cx="3008313" cy="707886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04789"/>
            <a:ext cx="5111750" cy="438983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2" y="1076327"/>
            <a:ext cx="3008313" cy="35182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34523586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3625395"/>
            <a:ext cx="5486400" cy="40011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025504"/>
            <a:ext cx="5486400" cy="6036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92593202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9485180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7394139" y="205980"/>
            <a:ext cx="1292662" cy="4388644"/>
          </a:xfrm>
          <a:prstGeom prst="rect">
            <a:avLst/>
          </a:prstGeo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05980"/>
            <a:ext cx="6019800" cy="4388644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48296282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488701"/>
            <a:ext cx="8371762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9" y="238125"/>
            <a:ext cx="8371762" cy="5238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275160"/>
            <a:ext cx="8374062" cy="350924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E3FFE4A-BC3E-4A6F-A2F7-DAF075A045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0A7409F-6336-4A34-BB77-9D5FCA08C53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E3CCE21-0F43-465D-A95C-235E160BA08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02961645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368315" y="2008062"/>
            <a:ext cx="7772400" cy="646331"/>
          </a:xfrm>
          <a:prstGeom prst="rect">
            <a:avLst/>
          </a:prstGeo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368315" y="2733866"/>
            <a:ext cx="7772400" cy="131445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10027455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17224962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000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000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5" y="298339"/>
            <a:ext cx="8418747" cy="648512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1385" y="1010266"/>
            <a:ext cx="8418747" cy="3613774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3650610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323439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241294" y="4815936"/>
            <a:ext cx="426966" cy="273844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algn="r"/>
            <a:fld id="{91853A39-49B3-554A-AE82-85611CEBD8E3}" type="slidenum">
              <a:rPr lang="nb-NO" smtClean="0">
                <a:latin typeface="Arial"/>
                <a:cs typeface="Arial"/>
              </a:rPr>
              <a:pPr algn="r"/>
              <a:t>‹#›</a:t>
            </a:fld>
            <a:endParaRPr lang="nb-NO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1373223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73250693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959970DA-EE83-6D4C-A7D9-242707344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19" y="205980"/>
            <a:ext cx="8229600" cy="646331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22250DC5-D43E-DF47-8946-580345545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80220" y="1444343"/>
            <a:ext cx="4040188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4938533B-98B9-FE49-BD38-3FE354B5DB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468046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AAE60141-BB9F-7A45-AD28-419E734080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468046" y="1444343"/>
            <a:ext cx="4041775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DE388575-68AB-9547-8F46-F2D9AF39D5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0219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</p:spTree>
    <p:extLst>
      <p:ext uri="{BB962C8B-B14F-4D97-AF65-F5344CB8AC3E}">
        <p14:creationId xmlns:p14="http://schemas.microsoft.com/office/powerpoint/2010/main" val="419391872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21509388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7736021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2" y="368439"/>
            <a:ext cx="3008313" cy="707886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04789"/>
            <a:ext cx="5111750" cy="438983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2" y="1076327"/>
            <a:ext cx="3008313" cy="35182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45251765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3625395"/>
            <a:ext cx="5486400" cy="40011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025504"/>
            <a:ext cx="5486400" cy="6036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68844379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7690801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7394139" y="205980"/>
            <a:ext cx="1292662" cy="4388644"/>
          </a:xfrm>
          <a:prstGeom prst="rect">
            <a:avLst/>
          </a:prstGeo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05980"/>
            <a:ext cx="6019800" cy="4388644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80329270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4971850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368315" y="2008061"/>
            <a:ext cx="7772400" cy="675821"/>
          </a:xfr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368315" y="2733866"/>
            <a:ext cx="7772400" cy="131445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427169448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41800" y="2305050"/>
            <a:ext cx="647700" cy="523875"/>
          </a:xfrm>
          <a:prstGeom prst="rect">
            <a:avLst/>
          </a:prstGeom>
        </p:spPr>
      </p:pic>
      <p:pic>
        <p:nvPicPr>
          <p:cNvPr id="8" name="Bild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41800" y="2305050"/>
            <a:ext cx="647700" cy="523875"/>
          </a:xfrm>
          <a:prstGeom prst="rect">
            <a:avLst/>
          </a:prstGeom>
        </p:spPr>
      </p:pic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9" name="Tittel 1">
            <a:extLst>
              <a:ext uri="{FF2B5EF4-FFF2-40B4-BE49-F238E27FC236}">
                <a16:creationId xmlns:a16="http://schemas.microsoft.com/office/drawing/2014/main" id="{2344BB71-0781-BE4B-991A-D131BC6BED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573" y="205979"/>
            <a:ext cx="8381997" cy="646331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0" name="Plassholder for innhold 2">
            <a:extLst>
              <a:ext uri="{FF2B5EF4-FFF2-40B4-BE49-F238E27FC236}">
                <a16:creationId xmlns:a16="http://schemas.microsoft.com/office/drawing/2014/main" id="{8AF6411C-65FD-A24C-9C3D-9E5091552B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6573" y="928914"/>
            <a:ext cx="8381997" cy="3665709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67036076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37506993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43887159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E56B820D-AB7F-5A44-8020-5D09944AA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19" y="205979"/>
            <a:ext cx="8229600" cy="646331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AE7B768E-548A-B44A-978C-328D3FD0988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80219" y="1444342"/>
            <a:ext cx="4040188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37E158BE-6530-394F-B377-3FE8EA1DC6D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468045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9F076E42-9075-F143-9FC0-531C50D5489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468045" y="1444342"/>
            <a:ext cx="4041775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BF3EDB8E-E4B3-2B49-9493-A3FEF0A85B7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0218" y="964521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41215311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189517266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6915247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413909772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91117040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1889447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59648620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4344399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5322368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18" Type="http://schemas.openxmlformats.org/officeDocument/2006/relationships/image" Target="../media/image4.jpe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6" Type="http://schemas.openxmlformats.org/officeDocument/2006/relationships/oleObject" Target="../embeddings/oleObject2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theme" Target="../theme/theme3.xml"/><Relationship Id="rId18" Type="http://schemas.openxmlformats.org/officeDocument/2006/relationships/image" Target="../media/image4.jpeg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5.xml"/><Relationship Id="rId16" Type="http://schemas.openxmlformats.org/officeDocument/2006/relationships/oleObject" Target="../embeddings/oleObject4.bin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tags" Target="../tags/tag7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tags" Target="../tags/tag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tags" Target="../tags/tag8.xml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theme" Target="../theme/theme4.xml"/><Relationship Id="rId17" Type="http://schemas.openxmlformats.org/officeDocument/2006/relationships/image" Target="../media/image4.jpeg"/><Relationship Id="rId2" Type="http://schemas.openxmlformats.org/officeDocument/2006/relationships/slideLayout" Target="../slideLayouts/slideLayout37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0.xml"/><Relationship Id="rId15" Type="http://schemas.openxmlformats.org/officeDocument/2006/relationships/oleObject" Target="../embeddings/oleObject5.bin"/><Relationship Id="rId10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tags" Target="../tags/tag9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13" Type="http://schemas.openxmlformats.org/officeDocument/2006/relationships/theme" Target="../theme/theme5.xml"/><Relationship Id="rId18" Type="http://schemas.openxmlformats.org/officeDocument/2006/relationships/image" Target="../media/image4.jpeg"/><Relationship Id="rId3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3.xml"/><Relationship Id="rId12" Type="http://schemas.openxmlformats.org/officeDocument/2006/relationships/slideLayout" Target="../slideLayouts/slideLayout58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48.xml"/><Relationship Id="rId16" Type="http://schemas.openxmlformats.org/officeDocument/2006/relationships/oleObject" Target="../embeddings/oleObject6.bin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5" Type="http://schemas.openxmlformats.org/officeDocument/2006/relationships/slideLayout" Target="../slideLayouts/slideLayout51.xml"/><Relationship Id="rId15" Type="http://schemas.openxmlformats.org/officeDocument/2006/relationships/tags" Target="../tags/tag11.xml"/><Relationship Id="rId10" Type="http://schemas.openxmlformats.org/officeDocument/2006/relationships/slideLayout" Target="../slideLayouts/slideLayout56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Relationship Id="rId14" Type="http://schemas.openxmlformats.org/officeDocument/2006/relationships/tags" Target="../tags/tag10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13" Type="http://schemas.openxmlformats.org/officeDocument/2006/relationships/tags" Target="../tags/tag12.xml"/><Relationship Id="rId3" Type="http://schemas.openxmlformats.org/officeDocument/2006/relationships/slideLayout" Target="../slideLayouts/slideLayout61.xml"/><Relationship Id="rId7" Type="http://schemas.openxmlformats.org/officeDocument/2006/relationships/slideLayout" Target="../slideLayouts/slideLayout65.xml"/><Relationship Id="rId12" Type="http://schemas.openxmlformats.org/officeDocument/2006/relationships/theme" Target="../theme/theme6.xml"/><Relationship Id="rId17" Type="http://schemas.openxmlformats.org/officeDocument/2006/relationships/image" Target="../media/image4.jpeg"/><Relationship Id="rId2" Type="http://schemas.openxmlformats.org/officeDocument/2006/relationships/slideLayout" Target="../slideLayouts/slideLayout60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slideLayout" Target="../slideLayouts/slideLayout69.xml"/><Relationship Id="rId5" Type="http://schemas.openxmlformats.org/officeDocument/2006/relationships/slideLayout" Target="../slideLayouts/slideLayout63.xml"/><Relationship Id="rId15" Type="http://schemas.openxmlformats.org/officeDocument/2006/relationships/oleObject" Target="../embeddings/oleObject7.bin"/><Relationship Id="rId10" Type="http://schemas.openxmlformats.org/officeDocument/2006/relationships/slideLayout" Target="../slideLayouts/slideLayout68.xml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Relationship Id="rId14" Type="http://schemas.openxmlformats.org/officeDocument/2006/relationships/tags" Target="../tags/tag13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7.xml"/><Relationship Id="rId13" Type="http://schemas.openxmlformats.org/officeDocument/2006/relationships/tags" Target="../tags/tag14.xml"/><Relationship Id="rId3" Type="http://schemas.openxmlformats.org/officeDocument/2006/relationships/slideLayout" Target="../slideLayouts/slideLayout72.xml"/><Relationship Id="rId7" Type="http://schemas.openxmlformats.org/officeDocument/2006/relationships/slideLayout" Target="../slideLayouts/slideLayout76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71.xml"/><Relationship Id="rId16" Type="http://schemas.openxmlformats.org/officeDocument/2006/relationships/image" Target="../media/image2.jpeg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11" Type="http://schemas.openxmlformats.org/officeDocument/2006/relationships/slideLayout" Target="../slideLayouts/slideLayout80.xml"/><Relationship Id="rId5" Type="http://schemas.openxmlformats.org/officeDocument/2006/relationships/slideLayout" Target="../slideLayouts/slideLayout74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79.xml"/><Relationship Id="rId4" Type="http://schemas.openxmlformats.org/officeDocument/2006/relationships/slideLayout" Target="../slideLayouts/slideLayout73.xml"/><Relationship Id="rId9" Type="http://schemas.openxmlformats.org/officeDocument/2006/relationships/slideLayout" Target="../slideLayouts/slideLayout78.xml"/><Relationship Id="rId14" Type="http://schemas.openxmlformats.org/officeDocument/2006/relationships/oleObject" Target="../embeddings/oleObject8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4394623-160E-4BDA-8166-722D8E8F92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8278734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4" progId="TCLayout.ActiveDocument.1">
                  <p:embed/>
                </p:oleObj>
              </mc:Choice>
              <mc:Fallback>
                <p:oleObj name="think-cell Slide" r:id="rId14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4394623-160E-4BDA-8166-722D8E8F92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57200" y="304299"/>
            <a:ext cx="8229600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57200" y="1025501"/>
            <a:ext cx="8229600" cy="38137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5" name="Bilde 4" descr="sirkler.jpg"/>
          <p:cNvPicPr>
            <a:picLocks noChangeAspect="1"/>
          </p:cNvPicPr>
          <p:nvPr userDrawn="1"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451"/>
          <a:stretch/>
        </p:blipFill>
        <p:spPr>
          <a:xfrm>
            <a:off x="7993703" y="379170"/>
            <a:ext cx="1151994" cy="1148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779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457200" rtl="0" eaLnBrk="1" latinLnBrk="0" hangingPunct="1">
        <a:spcBef>
          <a:spcPct val="0"/>
        </a:spcBef>
        <a:buNone/>
        <a:defRPr sz="36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0F553F2-CB7D-46D6-A6A5-D16CF29D07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587843601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592" imgH="591" progId="TCLayout.ActiveDocument.1">
                  <p:embed/>
                </p:oleObj>
              </mc:Choice>
              <mc:Fallback>
                <p:oleObj name="think-cell Slide" r:id="rId16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0F553F2-CB7D-46D6-A6A5-D16CF29D07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E29948F-3307-473B-885D-E9EEF3840228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36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323849" y="205980"/>
            <a:ext cx="8458815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323849" y="936523"/>
            <a:ext cx="8458815" cy="36581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AB1FCAE9-E6CF-CA49-A956-CEDD0847952D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423181" y="4800919"/>
            <a:ext cx="2520045" cy="204809"/>
          </a:xfrm>
          <a:prstGeom prst="rect">
            <a:avLst/>
          </a:prstGeom>
        </p:spPr>
      </p:pic>
      <p:sp>
        <p:nvSpPr>
          <p:cNvPr id="7" name="Plassholder for lysbildenummer 5">
            <a:extLst>
              <a:ext uri="{FF2B5EF4-FFF2-40B4-BE49-F238E27FC236}">
                <a16:creationId xmlns:a16="http://schemas.microsoft.com/office/drawing/2014/main" id="{FE08F9A8-C6B7-4BAE-BD6C-8CDE0653CD72}"/>
              </a:ext>
            </a:extLst>
          </p:cNvPr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000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000" b="0" i="0">
              <a:solidFill>
                <a:schemeClr val="tx1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579225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49" r:id="rId2"/>
    <p:sldLayoutId id="2147483750" r:id="rId3"/>
    <p:sldLayoutId id="2147483751" r:id="rId4"/>
    <p:sldLayoutId id="2147483752" r:id="rId5"/>
    <p:sldLayoutId id="2147483753" r:id="rId6"/>
    <p:sldLayoutId id="2147483754" r:id="rId7"/>
    <p:sldLayoutId id="2147483755" r:id="rId8"/>
    <p:sldLayoutId id="2147483756" r:id="rId9"/>
    <p:sldLayoutId id="2147483757" r:id="rId10"/>
    <p:sldLayoutId id="2147483758" r:id="rId11"/>
    <p:sldLayoutId id="2147483672" r:id="rId12"/>
  </p:sldLayoutIdLst>
  <p:txStyles>
    <p:titleStyle>
      <a:lvl1pPr algn="l" defTabSz="457189" rtl="0" eaLnBrk="1" latinLnBrk="0" hangingPunct="1">
        <a:spcBef>
          <a:spcPct val="0"/>
        </a:spcBef>
        <a:buNone/>
        <a:defRPr sz="36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892" indent="-342892" algn="l" defTabSz="457189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31" indent="-285743" algn="l" defTabSz="457189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1142972" indent="-228594" algn="l" defTabSz="457189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600160" indent="-228594" algn="l" defTabSz="457189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348" indent="-228594" algn="l" defTabSz="457189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0F553F2-CB7D-46D6-A6A5-D16CF29D07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739744777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592" imgH="591" progId="TCLayout.ActiveDocument.1">
                  <p:embed/>
                </p:oleObj>
              </mc:Choice>
              <mc:Fallback>
                <p:oleObj name="think-cell Slide" r:id="rId16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0F553F2-CB7D-46D6-A6A5-D16CF29D07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E29948F-3307-473B-885D-E9EEF3840228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36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323849" y="205980"/>
            <a:ext cx="8458815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323849" y="936523"/>
            <a:ext cx="8458815" cy="36581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AB1FCAE9-E6CF-CA49-A956-CEDD0847952D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423181" y="4800919"/>
            <a:ext cx="2520045" cy="204809"/>
          </a:xfrm>
          <a:prstGeom prst="rect">
            <a:avLst/>
          </a:prstGeom>
        </p:spPr>
      </p:pic>
      <p:sp>
        <p:nvSpPr>
          <p:cNvPr id="7" name="Plassholder for lysbildenummer 5">
            <a:extLst>
              <a:ext uri="{FF2B5EF4-FFF2-40B4-BE49-F238E27FC236}">
                <a16:creationId xmlns:a16="http://schemas.microsoft.com/office/drawing/2014/main" id="{FE08F9A8-C6B7-4BAE-BD6C-8CDE0653CD72}"/>
              </a:ext>
            </a:extLst>
          </p:cNvPr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000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000" b="0" i="0">
              <a:solidFill>
                <a:schemeClr val="tx1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923211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</p:sldLayoutIdLst>
  <p:txStyles>
    <p:titleStyle>
      <a:lvl1pPr algn="l" defTabSz="457189" rtl="0" eaLnBrk="1" latinLnBrk="0" hangingPunct="1">
        <a:spcBef>
          <a:spcPct val="0"/>
        </a:spcBef>
        <a:buNone/>
        <a:defRPr sz="36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892" indent="-342892" algn="l" defTabSz="457189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31" indent="-285743" algn="l" defTabSz="457189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1142972" indent="-228594" algn="l" defTabSz="457189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600160" indent="-228594" algn="l" defTabSz="457189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348" indent="-228594" algn="l" defTabSz="457189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0F553F2-CB7D-46D6-A6A5-D16CF29D07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208704948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592" imgH="591" progId="TCLayout.ActiveDocument.1">
                  <p:embed/>
                </p:oleObj>
              </mc:Choice>
              <mc:Fallback>
                <p:oleObj name="think-cell Slide" r:id="rId1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0F553F2-CB7D-46D6-A6A5-D16CF29D07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E29948F-3307-473B-885D-E9EEF3840228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36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323849" y="205981"/>
            <a:ext cx="8458815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323849" y="936523"/>
            <a:ext cx="8458815" cy="36581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AB1FCAE9-E6CF-CA49-A956-CEDD0847952D}"/>
              </a:ext>
            </a:extLst>
          </p:cNvPr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423182" y="4800920"/>
            <a:ext cx="2520045" cy="204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14777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</p:sldLayoutIdLst>
  <p:txStyles>
    <p:titleStyle>
      <a:lvl1pPr algn="l" defTabSz="457178" rtl="0" eaLnBrk="1" latinLnBrk="0" hangingPunct="1">
        <a:spcBef>
          <a:spcPct val="0"/>
        </a:spcBef>
        <a:buNone/>
        <a:defRPr sz="36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884" indent="-342884" algn="l" defTabSz="457178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13" indent="-285736" algn="l" defTabSz="457178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1142944" indent="-228588" algn="l" defTabSz="457178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600120" indent="-228588" algn="l" defTabSz="457178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297" indent="-228588" algn="l" defTabSz="457178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474" indent="-228588" algn="l" defTabSz="45717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8" algn="l" defTabSz="45717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8" algn="l" defTabSz="45717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8" algn="l" defTabSz="45717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5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4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0F553F2-CB7D-46D6-A6A5-D16CF29D07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683357008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592" imgH="591" progId="TCLayout.ActiveDocument.1">
                  <p:embed/>
                </p:oleObj>
              </mc:Choice>
              <mc:Fallback>
                <p:oleObj name="think-cell Slide" r:id="rId16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0F553F2-CB7D-46D6-A6A5-D16CF29D07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E29948F-3307-473B-885D-E9EEF3840228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36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323849" y="205980"/>
            <a:ext cx="8458815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323849" y="936523"/>
            <a:ext cx="8458815" cy="36581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AB1FCAE9-E6CF-CA49-A956-CEDD0847952D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423181" y="4800919"/>
            <a:ext cx="2520045" cy="204809"/>
          </a:xfrm>
          <a:prstGeom prst="rect">
            <a:avLst/>
          </a:prstGeom>
        </p:spPr>
      </p:pic>
      <p:sp>
        <p:nvSpPr>
          <p:cNvPr id="7" name="Plassholder for lysbildenummer 5">
            <a:extLst>
              <a:ext uri="{FF2B5EF4-FFF2-40B4-BE49-F238E27FC236}">
                <a16:creationId xmlns:a16="http://schemas.microsoft.com/office/drawing/2014/main" id="{FE08F9A8-C6B7-4BAE-BD6C-8CDE0653CD72}"/>
              </a:ext>
            </a:extLst>
          </p:cNvPr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000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000" b="0" i="0">
              <a:solidFill>
                <a:schemeClr val="tx1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007487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</p:sldLayoutIdLst>
  <p:txStyles>
    <p:titleStyle>
      <a:lvl1pPr algn="l" defTabSz="457189" rtl="0" eaLnBrk="1" latinLnBrk="0" hangingPunct="1">
        <a:spcBef>
          <a:spcPct val="0"/>
        </a:spcBef>
        <a:buNone/>
        <a:defRPr sz="36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892" indent="-342892" algn="l" defTabSz="457189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31" indent="-285743" algn="l" defTabSz="457189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1142972" indent="-228594" algn="l" defTabSz="457189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600160" indent="-228594" algn="l" defTabSz="457189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348" indent="-228594" algn="l" defTabSz="457189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0F553F2-CB7D-46D6-A6A5-D16CF29D07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252754094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592" imgH="591" progId="TCLayout.ActiveDocument.1">
                  <p:embed/>
                </p:oleObj>
              </mc:Choice>
              <mc:Fallback>
                <p:oleObj name="think-cell Slide" r:id="rId1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0F553F2-CB7D-46D6-A6A5-D16CF29D07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E29948F-3307-473B-885D-E9EEF3840228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36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323849" y="205980"/>
            <a:ext cx="8458815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323849" y="936523"/>
            <a:ext cx="8458815" cy="36581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AB1FCAE9-E6CF-CA49-A956-CEDD0847952D}"/>
              </a:ext>
            </a:extLst>
          </p:cNvPr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423181" y="4800919"/>
            <a:ext cx="2520045" cy="204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34454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457189" rtl="0" eaLnBrk="1" latinLnBrk="0" hangingPunct="1">
        <a:spcBef>
          <a:spcPct val="0"/>
        </a:spcBef>
        <a:buNone/>
        <a:defRPr sz="36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892" indent="-342892" algn="l" defTabSz="457189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31" indent="-285743" algn="l" defTabSz="457189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1142972" indent="-228594" algn="l" defTabSz="457189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600160" indent="-228594" algn="l" defTabSz="457189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348" indent="-228594" algn="l" defTabSz="457189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3A59599-34AF-4416-9B68-E8C695306F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833493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4" progId="TCLayout.ActiveDocument.1">
                  <p:embed/>
                </p:oleObj>
              </mc:Choice>
              <mc:Fallback>
                <p:oleObj name="think-cell Slide" r:id="rId14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3A59599-34AF-4416-9B68-E8C695306F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57200" y="304299"/>
            <a:ext cx="8229600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57200" y="1025501"/>
            <a:ext cx="8229600" cy="38137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5" name="Bilde 4" descr="sirkler.jpg"/>
          <p:cNvPicPr>
            <a:picLocks noChangeAspect="1"/>
          </p:cNvPicPr>
          <p:nvPr userDrawn="1"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451"/>
          <a:stretch/>
        </p:blipFill>
        <p:spPr>
          <a:xfrm>
            <a:off x="7993703" y="379170"/>
            <a:ext cx="1151994" cy="1148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92877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  <p:sldLayoutId id="2147483764" r:id="rId5"/>
    <p:sldLayoutId id="2147483765" r:id="rId6"/>
    <p:sldLayoutId id="2147483766" r:id="rId7"/>
    <p:sldLayoutId id="2147483767" r:id="rId8"/>
    <p:sldLayoutId id="2147483768" r:id="rId9"/>
    <p:sldLayoutId id="2147483769" r:id="rId10"/>
    <p:sldLayoutId id="2147483770" r:id="rId11"/>
  </p:sldLayoutIdLst>
  <p:txStyles>
    <p:titleStyle>
      <a:lvl1pPr algn="l" defTabSz="457200" rtl="0" eaLnBrk="1" latinLnBrk="0" hangingPunct="1">
        <a:spcBef>
          <a:spcPct val="0"/>
        </a:spcBef>
        <a:buNone/>
        <a:defRPr sz="36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7" Type="http://schemas.openxmlformats.org/officeDocument/2006/relationships/image" Target="../media/image6.png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5.xml"/><Relationship Id="rId6" Type="http://schemas.openxmlformats.org/officeDocument/2006/relationships/image" Target="../media/image3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6.xml"/><Relationship Id="rId6" Type="http://schemas.openxmlformats.org/officeDocument/2006/relationships/image" Target="../media/image3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7.xml"/><Relationship Id="rId6" Type="http://schemas.openxmlformats.org/officeDocument/2006/relationships/image" Target="../media/image3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8.xml"/><Relationship Id="rId6" Type="http://schemas.openxmlformats.org/officeDocument/2006/relationships/image" Target="../media/image3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5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Relationship Id="rId9" Type="http://schemas.openxmlformats.org/officeDocument/2006/relationships/image" Target="../media/image40.sv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i.ntnu.no/wiki/-/wiki/Norsk/BOTT+-+Oppl%C3%A6ring+i+nytt+%C3%B8konomisystem" TargetMode="Externa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41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5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5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7.png"/><Relationship Id="rId12" Type="http://schemas.openxmlformats.org/officeDocument/2006/relationships/image" Target="../media/image12.sv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1.emf"/><Relationship Id="rId11" Type="http://schemas.openxmlformats.org/officeDocument/2006/relationships/image" Target="../media/image11.png"/><Relationship Id="rId5" Type="http://schemas.openxmlformats.org/officeDocument/2006/relationships/oleObject" Target="../embeddings/oleObject10.bin"/><Relationship Id="rId10" Type="http://schemas.openxmlformats.org/officeDocument/2006/relationships/image" Target="../media/image10.sv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9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5.xml"/><Relationship Id="rId5" Type="http://schemas.openxmlformats.org/officeDocument/2006/relationships/diagramQuickStyle" Target="../diagrams/quickStyle5.xml"/><Relationship Id="rId4" Type="http://schemas.openxmlformats.org/officeDocument/2006/relationships/diagramLayout" Target="../diagrams/layout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.xml"/><Relationship Id="rId4" Type="http://schemas.openxmlformats.org/officeDocument/2006/relationships/hyperlink" Target="https://i.ntnu.no/documents/portlet_file_entry/1305837853/Veiledning+p%C3%A5logging+Canvas.pdf/1152f416-d177-1c08-dbe5-e703b96eb1c6" TargetMode="Externa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s://i.ntnu.no/wiki/-/wiki/Norsk/BOTT+%C3%98konomi+og+l%C3%B8nn+innf%C3%B8ringsprosjekt" TargetMode="Externa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Relationship Id="rId5" Type="http://schemas.openxmlformats.org/officeDocument/2006/relationships/hyperlink" Target="mailto:Opplaering-bott-ol@ntnu.no" TargetMode="External"/><Relationship Id="rId4" Type="http://schemas.openxmlformats.org/officeDocument/2006/relationships/hyperlink" Target="https://i.ntnu.no/wiki/-/wiki/Norsk/Bott+%C3%B8konomi+og+l%C3%B8nn+-+Oppl%C3%A6ring" TargetMode="Externa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hyperlink" Target="mailto:opplaering-bott-ol@ntnu.no" TargetMode="External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hyperlink" Target="https://i.ntnu.no/wiki/-/wiki/Norsk/BOTT+%C3%98konomi+og+l%C3%B8nn+innf%C3%B8ringsprosjekt" TargetMode="External"/><Relationship Id="rId3" Type="http://schemas.openxmlformats.org/officeDocument/2006/relationships/oleObject" Target="../embeddings/oleObject21.bin"/><Relationship Id="rId7" Type="http://schemas.openxmlformats.org/officeDocument/2006/relationships/hyperlink" Target="https://www.bott-samarbeidet.no/okonomi/opplering/index.html" TargetMode="Externa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0.xml"/><Relationship Id="rId6" Type="http://schemas.openxmlformats.org/officeDocument/2006/relationships/image" Target="../media/image48.svg"/><Relationship Id="rId5" Type="http://schemas.openxmlformats.org/officeDocument/2006/relationships/image" Target="../media/image47.png"/><Relationship Id="rId10" Type="http://schemas.openxmlformats.org/officeDocument/2006/relationships/hyperlink" Target="mailto:opplaering-bott-ol@ntnu.no" TargetMode="External"/><Relationship Id="rId4" Type="http://schemas.openxmlformats.org/officeDocument/2006/relationships/image" Target="../media/image1.emf"/><Relationship Id="rId9" Type="http://schemas.openxmlformats.org/officeDocument/2006/relationships/hyperlink" Target="https://i.ntnu.no/wiki/-/wiki/Norsk/Bott+%C3%B8konomi+og+l%C3%B8nn+-+Oppl%C3%A6ring" TargetMode="Externa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jpeg"/><Relationship Id="rId13" Type="http://schemas.openxmlformats.org/officeDocument/2006/relationships/image" Target="../media/image55.jpeg"/><Relationship Id="rId18" Type="http://schemas.openxmlformats.org/officeDocument/2006/relationships/image" Target="../media/image60.jpeg"/><Relationship Id="rId3" Type="http://schemas.openxmlformats.org/officeDocument/2006/relationships/slideLayout" Target="../slideLayouts/slideLayout71.xml"/><Relationship Id="rId7" Type="http://schemas.openxmlformats.org/officeDocument/2006/relationships/image" Target="../media/image49.jpeg"/><Relationship Id="rId12" Type="http://schemas.openxmlformats.org/officeDocument/2006/relationships/image" Target="../media/image54.jpeg"/><Relationship Id="rId17" Type="http://schemas.openxmlformats.org/officeDocument/2006/relationships/image" Target="../media/image59.jpeg"/><Relationship Id="rId2" Type="http://schemas.openxmlformats.org/officeDocument/2006/relationships/tags" Target="../tags/tag32.xml"/><Relationship Id="rId16" Type="http://schemas.openxmlformats.org/officeDocument/2006/relationships/image" Target="../media/image58.jpeg"/><Relationship Id="rId20" Type="http://schemas.openxmlformats.org/officeDocument/2006/relationships/image" Target="../media/image62.png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11" Type="http://schemas.openxmlformats.org/officeDocument/2006/relationships/image" Target="../media/image53.jpeg"/><Relationship Id="rId5" Type="http://schemas.openxmlformats.org/officeDocument/2006/relationships/oleObject" Target="../embeddings/oleObject22.bin"/><Relationship Id="rId15" Type="http://schemas.openxmlformats.org/officeDocument/2006/relationships/image" Target="../media/image57.jpeg"/><Relationship Id="rId10" Type="http://schemas.openxmlformats.org/officeDocument/2006/relationships/image" Target="../media/image52.jpeg"/><Relationship Id="rId19" Type="http://schemas.openxmlformats.org/officeDocument/2006/relationships/image" Target="../media/image61.jpeg"/><Relationship Id="rId4" Type="http://schemas.openxmlformats.org/officeDocument/2006/relationships/notesSlide" Target="../notesSlides/notesSlide27.xml"/><Relationship Id="rId9" Type="http://schemas.openxmlformats.org/officeDocument/2006/relationships/image" Target="../media/image51.jpeg"/><Relationship Id="rId14" Type="http://schemas.openxmlformats.org/officeDocument/2006/relationships/image" Target="../media/image56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.xml"/><Relationship Id="rId7" Type="http://schemas.openxmlformats.org/officeDocument/2006/relationships/image" Target="../media/image64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3.xml"/><Relationship Id="rId6" Type="http://schemas.openxmlformats.org/officeDocument/2006/relationships/image" Target="../media/image6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50.xml"/><Relationship Id="rId1" Type="http://schemas.openxmlformats.org/officeDocument/2006/relationships/tags" Target="../tags/tag19.x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image" Target="../media/image21.sv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5.svg"/><Relationship Id="rId12" Type="http://schemas.openxmlformats.org/officeDocument/2006/relationships/image" Target="../media/image20.png"/><Relationship Id="rId17" Type="http://schemas.openxmlformats.org/officeDocument/2006/relationships/image" Target="../media/image25.svg"/><Relationship Id="rId2" Type="http://schemas.openxmlformats.org/officeDocument/2006/relationships/slideLayout" Target="../slideLayouts/slideLayout37.xml"/><Relationship Id="rId16" Type="http://schemas.openxmlformats.org/officeDocument/2006/relationships/image" Target="../media/image24.png"/><Relationship Id="rId1" Type="http://schemas.openxmlformats.org/officeDocument/2006/relationships/tags" Target="../tags/tag20.xml"/><Relationship Id="rId6" Type="http://schemas.openxmlformats.org/officeDocument/2006/relationships/image" Target="../media/image14.png"/><Relationship Id="rId11" Type="http://schemas.openxmlformats.org/officeDocument/2006/relationships/image" Target="../media/image19.svg"/><Relationship Id="rId5" Type="http://schemas.openxmlformats.org/officeDocument/2006/relationships/image" Target="../media/image1.emf"/><Relationship Id="rId15" Type="http://schemas.openxmlformats.org/officeDocument/2006/relationships/image" Target="../media/image23.svg"/><Relationship Id="rId10" Type="http://schemas.openxmlformats.org/officeDocument/2006/relationships/image" Target="../media/image18.png"/><Relationship Id="rId4" Type="http://schemas.openxmlformats.org/officeDocument/2006/relationships/oleObject" Target="../embeddings/oleObject12.bin"/><Relationship Id="rId9" Type="http://schemas.openxmlformats.org/officeDocument/2006/relationships/image" Target="../media/image17.svg"/><Relationship Id="rId14" Type="http://schemas.openxmlformats.org/officeDocument/2006/relationships/image" Target="../media/image2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5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13" Type="http://schemas.openxmlformats.org/officeDocument/2006/relationships/image" Target="../media/image33.pn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27.png"/><Relationship Id="rId12" Type="http://schemas.openxmlformats.org/officeDocument/2006/relationships/image" Target="../media/image3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3.xml"/><Relationship Id="rId6" Type="http://schemas.openxmlformats.org/officeDocument/2006/relationships/image" Target="../media/image26.png"/><Relationship Id="rId11" Type="http://schemas.openxmlformats.org/officeDocument/2006/relationships/image" Target="../media/image31.png"/><Relationship Id="rId5" Type="http://schemas.openxmlformats.org/officeDocument/2006/relationships/image" Target="../media/image1.emf"/><Relationship Id="rId10" Type="http://schemas.openxmlformats.org/officeDocument/2006/relationships/image" Target="../media/image30.png"/><Relationship Id="rId4" Type="http://schemas.openxmlformats.org/officeDocument/2006/relationships/oleObject" Target="../embeddings/oleObject14.bin"/><Relationship Id="rId9" Type="http://schemas.openxmlformats.org/officeDocument/2006/relationships/image" Target="../media/image29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hyperlink" Target="https://universityofbergen.sharepoint.com/:b:/s/KvalitetsrammeverkokonomioglonnBOTT/EfJm3f_mke5IgMLT2GYb36YBrguE600FLnxZ5l0MsNOLag?e=dc1bd1" TargetMode="External"/><Relationship Id="rId3" Type="http://schemas.openxmlformats.org/officeDocument/2006/relationships/notesSlide" Target="../notesSlides/notesSlide9.xml"/><Relationship Id="rId7" Type="http://schemas.openxmlformats.org/officeDocument/2006/relationships/hyperlink" Target="https://universityofbergen.sharepoint.com/:b:/s/KvalitetsrammeverkokonomioglonnBOTT/EZVPXhOvDoNDnqYgyL7wUzMB8_umymqL03UK25jeJXTwhA?e=oNi3I4" TargetMode="Externa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4.xml"/><Relationship Id="rId6" Type="http://schemas.openxmlformats.org/officeDocument/2006/relationships/image" Target="../media/image3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C2907E4-33AC-47EE-90CC-08CBE65B9E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7742012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C2907E4-33AC-47EE-90CC-08CBE65B9E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03CB462-D9E6-48BE-AF21-E78169557E7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89"/>
            <a:endParaRPr lang="nb-NO" sz="405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Rektangel 10"/>
          <p:cNvSpPr/>
          <p:nvPr/>
        </p:nvSpPr>
        <p:spPr>
          <a:xfrm>
            <a:off x="0" y="1"/>
            <a:ext cx="9144000" cy="527412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nb-NO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9" name="Tittel 1"/>
          <p:cNvSpPr>
            <a:spLocks noGrp="1"/>
          </p:cNvSpPr>
          <p:nvPr>
            <p:ph type="ctrTitle"/>
          </p:nvPr>
        </p:nvSpPr>
        <p:spPr>
          <a:xfrm>
            <a:off x="519506" y="2373370"/>
            <a:ext cx="8114088" cy="1323439"/>
          </a:xfrm>
        </p:spPr>
        <p:txBody>
          <a:bodyPr vert="horz"/>
          <a:lstStyle/>
          <a:p>
            <a:r>
              <a:rPr lang="nb-NO" sz="4000">
                <a:solidFill>
                  <a:schemeClr val="bg1"/>
                </a:solidFill>
              </a:rPr>
              <a:t>Behov til betaling – </a:t>
            </a:r>
            <a:br>
              <a:rPr lang="nb-NO" sz="4000">
                <a:solidFill>
                  <a:schemeClr val="bg1"/>
                </a:solidFill>
              </a:rPr>
            </a:br>
            <a:r>
              <a:rPr lang="nb-NO" sz="4000">
                <a:solidFill>
                  <a:schemeClr val="bg1"/>
                </a:solidFill>
              </a:rPr>
              <a:t>Informasjonsmøte om opplæring</a:t>
            </a:r>
          </a:p>
        </p:txBody>
      </p:sp>
      <p:sp>
        <p:nvSpPr>
          <p:cNvPr id="10" name="Undertittel 2"/>
          <p:cNvSpPr>
            <a:spLocks noGrp="1"/>
          </p:cNvSpPr>
          <p:nvPr>
            <p:ph type="subTitle" idx="1"/>
          </p:nvPr>
        </p:nvSpPr>
        <p:spPr>
          <a:xfrm>
            <a:off x="584434" y="3784365"/>
            <a:ext cx="8114089" cy="598097"/>
          </a:xfrm>
        </p:spPr>
        <p:txBody>
          <a:bodyPr vert="horz" lIns="68580" tIns="34290" rIns="68580" bIns="34290" rtlCol="0" anchor="t">
            <a:noAutofit/>
          </a:bodyPr>
          <a:lstStyle/>
          <a:p>
            <a:r>
              <a:rPr lang="nb-NO" sz="2700">
                <a:solidFill>
                  <a:schemeClr val="bg1"/>
                </a:solidFill>
              </a:rPr>
              <a:t>BOTT ØL Innføring</a:t>
            </a:r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589D61C2-2E0E-8541-A434-8E4817E38EF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19506" y="444335"/>
            <a:ext cx="5406359" cy="433297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991FC646-4967-4503-A60F-7C8FA1187E7C}"/>
              </a:ext>
            </a:extLst>
          </p:cNvPr>
          <p:cNvSpPr/>
          <p:nvPr/>
        </p:nvSpPr>
        <p:spPr>
          <a:xfrm>
            <a:off x="6641526" y="4756215"/>
            <a:ext cx="2413321" cy="369332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algn="ctr" defTabSz="457189">
              <a:defRPr/>
            </a:pPr>
            <a:r>
              <a:rPr lang="nb-NO">
                <a:solidFill>
                  <a:srgbClr val="FFFFFF"/>
                </a:solidFill>
                <a:latin typeface="Arial" panose="020B0604020202020204"/>
              </a:rPr>
              <a:t>20. september 2022</a:t>
            </a:r>
            <a:endParaRPr lang="nb-NO" sz="1500">
              <a:solidFill>
                <a:srgbClr val="000000"/>
              </a:solidFill>
              <a:latin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324310205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5FE2C19-1B9A-46A3-864B-AA04A0F0C1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62686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5FE2C19-1B9A-46A3-864B-AA04A0F0C1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8E4C28B-F1B0-402B-9DE8-288274C06C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573" y="205979"/>
            <a:ext cx="8381997" cy="461665"/>
          </a:xfrm>
        </p:spPr>
        <p:txBody>
          <a:bodyPr vert="horz"/>
          <a:lstStyle/>
          <a:p>
            <a:r>
              <a:rPr lang="nb-NO" sz="2400"/>
              <a:t>Intro til </a:t>
            </a:r>
            <a:r>
              <a:rPr lang="nb-NO" sz="2400" err="1"/>
              <a:t>BtB</a:t>
            </a:r>
            <a:r>
              <a:rPr lang="nb-NO" sz="2400"/>
              <a:t>-prosessen: Roller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51F9E16-97D0-41E7-83A9-EC194EC4E797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1660"/>
          <a:stretch/>
        </p:blipFill>
        <p:spPr>
          <a:xfrm>
            <a:off x="326573" y="1004935"/>
            <a:ext cx="7609861" cy="3658615"/>
          </a:xfrm>
          <a:prstGeom prst="rect">
            <a:avLst/>
          </a:prstGeom>
        </p:spPr>
      </p:pic>
      <p:sp>
        <p:nvSpPr>
          <p:cNvPr id="57" name="Rectangle 56">
            <a:extLst>
              <a:ext uri="{FF2B5EF4-FFF2-40B4-BE49-F238E27FC236}">
                <a16:creationId xmlns:a16="http://schemas.microsoft.com/office/drawing/2014/main" id="{D63C3275-C6A2-4C0D-AB9B-96C8E4868464}"/>
              </a:ext>
            </a:extLst>
          </p:cNvPr>
          <p:cNvSpPr/>
          <p:nvPr/>
        </p:nvSpPr>
        <p:spPr>
          <a:xfrm>
            <a:off x="376928" y="1004935"/>
            <a:ext cx="2310431" cy="3133630"/>
          </a:xfrm>
          <a:prstGeom prst="rect">
            <a:avLst/>
          </a:prstGeom>
          <a:noFill/>
          <a:ln w="28575">
            <a:solidFill>
              <a:srgbClr val="0070C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7C9CE4A2-F443-4F24-BB3A-21A8DF45435A}"/>
              </a:ext>
            </a:extLst>
          </p:cNvPr>
          <p:cNvSpPr/>
          <p:nvPr/>
        </p:nvSpPr>
        <p:spPr>
          <a:xfrm>
            <a:off x="2737714" y="1619395"/>
            <a:ext cx="2310431" cy="656135"/>
          </a:xfrm>
          <a:prstGeom prst="rect">
            <a:avLst/>
          </a:prstGeom>
          <a:noFill/>
          <a:ln w="28575">
            <a:solidFill>
              <a:srgbClr val="0070C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649C61C3-2D17-413E-B0D7-EC98ED9FBB14}"/>
              </a:ext>
            </a:extLst>
          </p:cNvPr>
          <p:cNvSpPr/>
          <p:nvPr/>
        </p:nvSpPr>
        <p:spPr>
          <a:xfrm>
            <a:off x="2737714" y="3335350"/>
            <a:ext cx="2310431" cy="656135"/>
          </a:xfrm>
          <a:prstGeom prst="rect">
            <a:avLst/>
          </a:prstGeom>
          <a:noFill/>
          <a:ln w="28575">
            <a:solidFill>
              <a:srgbClr val="0070C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1925708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713B360-6832-4579-9F39-37C46A2B0E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713B360-6832-4579-9F39-37C46A2B0E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ktangel 7">
            <a:extLst>
              <a:ext uri="{FF2B5EF4-FFF2-40B4-BE49-F238E27FC236}">
                <a16:creationId xmlns:a16="http://schemas.microsoft.com/office/drawing/2014/main" id="{7C8AA404-1545-4DC3-8463-E58A155F88BE}"/>
              </a:ext>
            </a:extLst>
          </p:cNvPr>
          <p:cNvSpPr/>
          <p:nvPr/>
        </p:nvSpPr>
        <p:spPr>
          <a:xfrm>
            <a:off x="460611" y="1735079"/>
            <a:ext cx="1608586" cy="188623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Rektangel 6">
            <a:extLst>
              <a:ext uri="{FF2B5EF4-FFF2-40B4-BE49-F238E27FC236}">
                <a16:creationId xmlns:a16="http://schemas.microsoft.com/office/drawing/2014/main" id="{6D1DD5A1-4DE5-429C-A09D-6777DDAC2252}"/>
              </a:ext>
            </a:extLst>
          </p:cNvPr>
          <p:cNvSpPr/>
          <p:nvPr/>
        </p:nvSpPr>
        <p:spPr>
          <a:xfrm>
            <a:off x="460611" y="1017328"/>
            <a:ext cx="8168132" cy="537328"/>
          </a:xfrm>
          <a:prstGeom prst="rect">
            <a:avLst/>
          </a:prstGeom>
          <a:solidFill>
            <a:schemeClr val="accent1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ålet med rollen </a:t>
            </a:r>
            <a:r>
              <a:rPr kumimoji="0" lang="nb-NO" sz="135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agrevirent </a:t>
            </a:r>
            <a:r>
              <a:rPr kumimoji="0" lang="nb-NO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r å sørge for opprettelse av innkjøpsforespørsler av varer og tjenester innenfor sitt fagområde </a:t>
            </a:r>
          </a:p>
        </p:txBody>
      </p:sp>
      <p:sp>
        <p:nvSpPr>
          <p:cNvPr id="7" name="TekstSylinder 2">
            <a:extLst>
              <a:ext uri="{FF2B5EF4-FFF2-40B4-BE49-F238E27FC236}">
                <a16:creationId xmlns:a16="http://schemas.microsoft.com/office/drawing/2014/main" id="{F8527C33-0580-43A1-869B-461B68DC2AAA}"/>
              </a:ext>
            </a:extLst>
          </p:cNvPr>
          <p:cNvSpPr txBox="1"/>
          <p:nvPr/>
        </p:nvSpPr>
        <p:spPr>
          <a:xfrm>
            <a:off x="2069197" y="1735079"/>
            <a:ext cx="203132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ntrale oppgaver for rollen*</a:t>
            </a:r>
          </a:p>
        </p:txBody>
      </p:sp>
      <p:sp>
        <p:nvSpPr>
          <p:cNvPr id="8" name="Rektangel 19">
            <a:extLst>
              <a:ext uri="{FF2B5EF4-FFF2-40B4-BE49-F238E27FC236}">
                <a16:creationId xmlns:a16="http://schemas.microsoft.com/office/drawing/2014/main" id="{81AF0185-6617-442A-9C9B-48221C870153}"/>
              </a:ext>
            </a:extLst>
          </p:cNvPr>
          <p:cNvSpPr/>
          <p:nvPr/>
        </p:nvSpPr>
        <p:spPr>
          <a:xfrm>
            <a:off x="2157259" y="2033427"/>
            <a:ext cx="4145570" cy="322864"/>
          </a:xfrm>
          <a:prstGeom prst="rect">
            <a:avLst/>
          </a:prstGeom>
          <a:solidFill>
            <a:srgbClr val="B6C8E9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pprette innkjøpsforespørsel basert på innmeldt behov i</a:t>
            </a:r>
          </a:p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it4 ERP</a:t>
            </a:r>
          </a:p>
        </p:txBody>
      </p:sp>
      <p:sp>
        <p:nvSpPr>
          <p:cNvPr id="10" name="Rektangel 19">
            <a:extLst>
              <a:ext uri="{FF2B5EF4-FFF2-40B4-BE49-F238E27FC236}">
                <a16:creationId xmlns:a16="http://schemas.microsoft.com/office/drawing/2014/main" id="{A5B67B4C-07CC-4FC2-B350-46A63A6ACA6D}"/>
              </a:ext>
            </a:extLst>
          </p:cNvPr>
          <p:cNvSpPr/>
          <p:nvPr/>
        </p:nvSpPr>
        <p:spPr>
          <a:xfrm>
            <a:off x="2157259" y="2438082"/>
            <a:ext cx="4145570" cy="339883"/>
          </a:xfrm>
          <a:prstGeom prst="rect">
            <a:avLst/>
          </a:prstGeom>
          <a:solidFill>
            <a:srgbClr val="B6C8E9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marbeide med Anskaffelsesrådgiver for behov lik/over 100.000</a:t>
            </a:r>
          </a:p>
        </p:txBody>
      </p:sp>
      <p:sp>
        <p:nvSpPr>
          <p:cNvPr id="11" name="Rektangel 19">
            <a:extLst>
              <a:ext uri="{FF2B5EF4-FFF2-40B4-BE49-F238E27FC236}">
                <a16:creationId xmlns:a16="http://schemas.microsoft.com/office/drawing/2014/main" id="{D4061D49-3770-4E9E-A5D3-877C04449426}"/>
              </a:ext>
            </a:extLst>
          </p:cNvPr>
          <p:cNvSpPr/>
          <p:nvPr/>
        </p:nvSpPr>
        <p:spPr>
          <a:xfrm>
            <a:off x="2157259" y="2859756"/>
            <a:ext cx="4145570" cy="339883"/>
          </a:xfrm>
          <a:prstGeom prst="rect">
            <a:avLst/>
          </a:prstGeom>
          <a:solidFill>
            <a:srgbClr val="B6C8E9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gistrere varemottak i Unit4 ERP</a:t>
            </a:r>
          </a:p>
        </p:txBody>
      </p:sp>
      <p:sp>
        <p:nvSpPr>
          <p:cNvPr id="12" name="Rektangel 19">
            <a:extLst>
              <a:ext uri="{FF2B5EF4-FFF2-40B4-BE49-F238E27FC236}">
                <a16:creationId xmlns:a16="http://schemas.microsoft.com/office/drawing/2014/main" id="{F4658979-7B79-4F9D-9605-BB77F332F10A}"/>
              </a:ext>
            </a:extLst>
          </p:cNvPr>
          <p:cNvSpPr/>
          <p:nvPr/>
        </p:nvSpPr>
        <p:spPr>
          <a:xfrm>
            <a:off x="2152655" y="3281431"/>
            <a:ext cx="4141076" cy="339883"/>
          </a:xfrm>
          <a:prstGeom prst="rect">
            <a:avLst/>
          </a:prstGeom>
          <a:solidFill>
            <a:srgbClr val="B6C8E9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lde avvik på avtaler innenfor sitt fagområde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755B4A8-2215-478F-864E-8BDAD7E454DC}"/>
              </a:ext>
            </a:extLst>
          </p:cNvPr>
          <p:cNvSpPr txBox="1"/>
          <p:nvPr/>
        </p:nvSpPr>
        <p:spPr>
          <a:xfrm>
            <a:off x="371347" y="3909741"/>
            <a:ext cx="8257396" cy="715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t anbefales at fagrekvirent er en faglig ressurs som kjenner den enkelte arbeidsgruppes (f.eks. forskningsgruppe) virksomhet og behov, samt skal kunne dekke flere enheter innenfor ett fag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ED6677F5-520C-4463-987D-9A62AEC94A32}"/>
              </a:ext>
            </a:extLst>
          </p:cNvPr>
          <p:cNvSpPr txBox="1">
            <a:spLocks/>
          </p:cNvSpPr>
          <p:nvPr/>
        </p:nvSpPr>
        <p:spPr>
          <a:xfrm>
            <a:off x="301385" y="298339"/>
            <a:ext cx="8418747" cy="394051"/>
          </a:xfrm>
          <a:prstGeom prst="rect">
            <a:avLst/>
          </a:prstGeom>
        </p:spPr>
        <p:txBody>
          <a:bodyPr vert="horz" wrap="square" lIns="67500" tIns="35100" rIns="67500" bIns="35100" rtlCol="0" anchor="t" anchorCtr="0">
            <a:spAutoFit/>
          </a:bodyPr>
          <a:lstStyle>
            <a:lvl1pPr algn="l" defTabSz="609585" rtl="0" eaLnBrk="1" latinLnBrk="0" hangingPunct="1">
              <a:spcBef>
                <a:spcPct val="0"/>
              </a:spcBef>
              <a:buNone/>
              <a:defRPr sz="48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Intro til </a:t>
            </a:r>
            <a:r>
              <a:rPr kumimoji="0" lang="nb-NO" sz="21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btb</a:t>
            </a:r>
            <a:r>
              <a:rPr kumimoji="0" lang="nb-NO" sz="2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-prosessen: Fagrekvirent</a:t>
            </a:r>
          </a:p>
        </p:txBody>
      </p:sp>
      <p:sp>
        <p:nvSpPr>
          <p:cNvPr id="17" name="Rektangel 7">
            <a:extLst>
              <a:ext uri="{FF2B5EF4-FFF2-40B4-BE49-F238E27FC236}">
                <a16:creationId xmlns:a16="http://schemas.microsoft.com/office/drawing/2014/main" id="{2BE1C12F-E477-4C6D-9542-ECC8442B8901}"/>
              </a:ext>
            </a:extLst>
          </p:cNvPr>
          <p:cNvSpPr/>
          <p:nvPr/>
        </p:nvSpPr>
        <p:spPr>
          <a:xfrm>
            <a:off x="6380618" y="2033428"/>
            <a:ext cx="2248125" cy="15878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8588" marR="0" lvl="0" indent="-128588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ærskilt kunnskap på sitt definerte fagområde </a:t>
            </a:r>
          </a:p>
          <a:p>
            <a:pPr marL="128588" marR="0" lvl="0" indent="-128588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nnskap om avtaleportefølje innenfor sitt område og de varer og tjenester som disse avtalene omfatter </a:t>
            </a:r>
          </a:p>
          <a:p>
            <a:pPr marL="128588" marR="0" lvl="0" indent="-128588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nne opprette innkjøpsforespørsel i UNIT4 ERP</a:t>
            </a:r>
          </a:p>
          <a:p>
            <a:pPr marL="128588" marR="0" lvl="0" indent="-128588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utiner i </a:t>
            </a:r>
            <a:r>
              <a:rPr kumimoji="0" lang="nb-NO" sz="9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tb</a:t>
            </a: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-prosessen</a:t>
            </a:r>
          </a:p>
          <a:p>
            <a:pPr marL="128588" marR="0" lvl="0" indent="-128588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glement for økonomistyring i staten </a:t>
            </a:r>
          </a:p>
        </p:txBody>
      </p:sp>
      <p:sp>
        <p:nvSpPr>
          <p:cNvPr id="18" name="TekstSylinder 2">
            <a:extLst>
              <a:ext uri="{FF2B5EF4-FFF2-40B4-BE49-F238E27FC236}">
                <a16:creationId xmlns:a16="http://schemas.microsoft.com/office/drawing/2014/main" id="{E8A051A5-33D8-463D-AF17-966FB96BFE66}"/>
              </a:ext>
            </a:extLst>
          </p:cNvPr>
          <p:cNvSpPr txBox="1"/>
          <p:nvPr/>
        </p:nvSpPr>
        <p:spPr>
          <a:xfrm>
            <a:off x="6309360" y="1768711"/>
            <a:ext cx="127310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ompetansekrav</a:t>
            </a:r>
          </a:p>
        </p:txBody>
      </p:sp>
      <p:sp>
        <p:nvSpPr>
          <p:cNvPr id="21" name="Rektangel 7">
            <a:extLst>
              <a:ext uri="{FF2B5EF4-FFF2-40B4-BE49-F238E27FC236}">
                <a16:creationId xmlns:a16="http://schemas.microsoft.com/office/drawing/2014/main" id="{34287469-F5F6-4BEB-979D-DA92EA9FBED5}"/>
              </a:ext>
            </a:extLst>
          </p:cNvPr>
          <p:cNvSpPr/>
          <p:nvPr/>
        </p:nvSpPr>
        <p:spPr>
          <a:xfrm>
            <a:off x="609752" y="1898215"/>
            <a:ext cx="1306134" cy="155931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3" name="Picture 22" descr="Icon&#10;&#10;Description automatically generated">
            <a:extLst>
              <a:ext uri="{FF2B5EF4-FFF2-40B4-BE49-F238E27FC236}">
                <a16:creationId xmlns:a16="http://schemas.microsoft.com/office/drawing/2014/main" id="{275D363B-E2AF-4D13-8AA0-88E3597FDE4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5016" y="1869349"/>
            <a:ext cx="1383594" cy="1468937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066D631D-1D7C-4B3D-961F-8AB273F27901}"/>
              </a:ext>
            </a:extLst>
          </p:cNvPr>
          <p:cNvSpPr txBox="1"/>
          <p:nvPr/>
        </p:nvSpPr>
        <p:spPr>
          <a:xfrm>
            <a:off x="5713077" y="4814470"/>
            <a:ext cx="457802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Se fullstendige beskrivelse av oppgaver i rollebeskrivelse </a:t>
            </a:r>
          </a:p>
        </p:txBody>
      </p:sp>
    </p:spTree>
    <p:extLst>
      <p:ext uri="{BB962C8B-B14F-4D97-AF65-F5344CB8AC3E}">
        <p14:creationId xmlns:p14="http://schemas.microsoft.com/office/powerpoint/2010/main" val="309443908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713B360-6832-4579-9F39-37C46A2B0E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713B360-6832-4579-9F39-37C46A2B0E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ktangel 7">
            <a:extLst>
              <a:ext uri="{FF2B5EF4-FFF2-40B4-BE49-F238E27FC236}">
                <a16:creationId xmlns:a16="http://schemas.microsoft.com/office/drawing/2014/main" id="{7C8AA404-1545-4DC3-8463-E58A155F88BE}"/>
              </a:ext>
            </a:extLst>
          </p:cNvPr>
          <p:cNvSpPr/>
          <p:nvPr/>
        </p:nvSpPr>
        <p:spPr>
          <a:xfrm>
            <a:off x="460611" y="1735079"/>
            <a:ext cx="1608586" cy="188623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Rektangel 6">
            <a:extLst>
              <a:ext uri="{FF2B5EF4-FFF2-40B4-BE49-F238E27FC236}">
                <a16:creationId xmlns:a16="http://schemas.microsoft.com/office/drawing/2014/main" id="{6D1DD5A1-4DE5-429C-A09D-6777DDAC2252}"/>
              </a:ext>
            </a:extLst>
          </p:cNvPr>
          <p:cNvSpPr/>
          <p:nvPr/>
        </p:nvSpPr>
        <p:spPr>
          <a:xfrm>
            <a:off x="460611" y="1017328"/>
            <a:ext cx="8168132" cy="537328"/>
          </a:xfrm>
          <a:prstGeom prst="rect">
            <a:avLst/>
          </a:prstGeom>
          <a:solidFill>
            <a:schemeClr val="accent1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ålet med rollen </a:t>
            </a:r>
            <a:r>
              <a:rPr kumimoji="0" lang="nb-NO" sz="135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nkjøper </a:t>
            </a:r>
            <a:r>
              <a:rPr kumimoji="0" lang="nb-NO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r </a:t>
            </a:r>
            <a:r>
              <a:rPr lang="nb-NO" sz="1350">
                <a:solidFill>
                  <a:srgbClr val="FFFFFF"/>
                </a:solidFill>
                <a:latin typeface="Arial" panose="020B0604020202020204"/>
              </a:rPr>
              <a:t>å sørge for innkjøp av varer og tjenester til bruk i universitets virksomhet</a:t>
            </a:r>
            <a:endParaRPr kumimoji="0" lang="nb-NO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TekstSylinder 2">
            <a:extLst>
              <a:ext uri="{FF2B5EF4-FFF2-40B4-BE49-F238E27FC236}">
                <a16:creationId xmlns:a16="http://schemas.microsoft.com/office/drawing/2014/main" id="{F8527C33-0580-43A1-869B-461B68DC2AAA}"/>
              </a:ext>
            </a:extLst>
          </p:cNvPr>
          <p:cNvSpPr txBox="1"/>
          <p:nvPr/>
        </p:nvSpPr>
        <p:spPr>
          <a:xfrm>
            <a:off x="2069197" y="1735079"/>
            <a:ext cx="203132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ntrale oppgaver for rollen*</a:t>
            </a:r>
          </a:p>
        </p:txBody>
      </p:sp>
      <p:sp>
        <p:nvSpPr>
          <p:cNvPr id="8" name="Rektangel 19">
            <a:extLst>
              <a:ext uri="{FF2B5EF4-FFF2-40B4-BE49-F238E27FC236}">
                <a16:creationId xmlns:a16="http://schemas.microsoft.com/office/drawing/2014/main" id="{81AF0185-6617-442A-9C9B-48221C870153}"/>
              </a:ext>
            </a:extLst>
          </p:cNvPr>
          <p:cNvSpPr/>
          <p:nvPr/>
        </p:nvSpPr>
        <p:spPr>
          <a:xfrm>
            <a:off x="2157259" y="2033427"/>
            <a:ext cx="4145570" cy="322864"/>
          </a:xfrm>
          <a:prstGeom prst="rect">
            <a:avLst/>
          </a:prstGeom>
          <a:solidFill>
            <a:srgbClr val="B6C8E9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pprette innkjøpsforespørsel basert på innmeldt behov i</a:t>
            </a:r>
          </a:p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it4 ERP</a:t>
            </a:r>
          </a:p>
        </p:txBody>
      </p:sp>
      <p:sp>
        <p:nvSpPr>
          <p:cNvPr id="10" name="Rektangel 19">
            <a:extLst>
              <a:ext uri="{FF2B5EF4-FFF2-40B4-BE49-F238E27FC236}">
                <a16:creationId xmlns:a16="http://schemas.microsoft.com/office/drawing/2014/main" id="{A5B67B4C-07CC-4FC2-B350-46A63A6ACA6D}"/>
              </a:ext>
            </a:extLst>
          </p:cNvPr>
          <p:cNvSpPr/>
          <p:nvPr/>
        </p:nvSpPr>
        <p:spPr>
          <a:xfrm>
            <a:off x="2157259" y="2438082"/>
            <a:ext cx="4145570" cy="339883"/>
          </a:xfrm>
          <a:prstGeom prst="rect">
            <a:avLst/>
          </a:prstGeom>
          <a:solidFill>
            <a:srgbClr val="B6C8E9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050">
                <a:solidFill>
                  <a:prstClr val="black"/>
                </a:solidFill>
                <a:latin typeface="Arial"/>
              </a:rPr>
              <a:t>Opprette og vedlikeholder innkjøpsplaner (plankjøp)</a:t>
            </a:r>
            <a:endParaRPr kumimoji="0" lang="nb-NO" sz="10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Rektangel 19">
            <a:extLst>
              <a:ext uri="{FF2B5EF4-FFF2-40B4-BE49-F238E27FC236}">
                <a16:creationId xmlns:a16="http://schemas.microsoft.com/office/drawing/2014/main" id="{D4061D49-3770-4E9E-A5D3-877C04449426}"/>
              </a:ext>
            </a:extLst>
          </p:cNvPr>
          <p:cNvSpPr/>
          <p:nvPr/>
        </p:nvSpPr>
        <p:spPr>
          <a:xfrm>
            <a:off x="2157259" y="2859756"/>
            <a:ext cx="4145570" cy="339883"/>
          </a:xfrm>
          <a:prstGeom prst="rect">
            <a:avLst/>
          </a:prstGeom>
          <a:solidFill>
            <a:srgbClr val="B6C8E9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gistrere varemottak i Unit4 ERP</a:t>
            </a:r>
          </a:p>
        </p:txBody>
      </p:sp>
      <p:sp>
        <p:nvSpPr>
          <p:cNvPr id="12" name="Rektangel 19">
            <a:extLst>
              <a:ext uri="{FF2B5EF4-FFF2-40B4-BE49-F238E27FC236}">
                <a16:creationId xmlns:a16="http://schemas.microsoft.com/office/drawing/2014/main" id="{F4658979-7B79-4F9D-9605-BB77F332F10A}"/>
              </a:ext>
            </a:extLst>
          </p:cNvPr>
          <p:cNvSpPr/>
          <p:nvPr/>
        </p:nvSpPr>
        <p:spPr>
          <a:xfrm>
            <a:off x="2152655" y="3281431"/>
            <a:ext cx="4141076" cy="339883"/>
          </a:xfrm>
          <a:prstGeom prst="rect">
            <a:avLst/>
          </a:prstGeom>
          <a:solidFill>
            <a:srgbClr val="B6C8E9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050">
                <a:solidFill>
                  <a:prstClr val="black"/>
                </a:solidFill>
                <a:latin typeface="Arial"/>
              </a:rPr>
              <a:t>Behandle inngående faktura og kreditnota </a:t>
            </a:r>
            <a:endParaRPr kumimoji="0" lang="nb-NO" sz="10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755B4A8-2215-478F-864E-8BDAD7E454DC}"/>
              </a:ext>
            </a:extLst>
          </p:cNvPr>
          <p:cNvSpPr txBox="1"/>
          <p:nvPr/>
        </p:nvSpPr>
        <p:spPr>
          <a:xfrm>
            <a:off x="371347" y="3909741"/>
            <a:ext cx="8257396" cy="715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350">
                <a:solidFill>
                  <a:srgbClr val="000000"/>
                </a:solidFill>
                <a:latin typeface="Arial" panose="020B0604020202020204"/>
              </a:rPr>
              <a:t>Det anbefales at innkjøpsforespørsler og inngående faktura er innkjøpers førsteprioritet. Innkjøper bør videre utøve sin rolle 50- 100 %. </a:t>
            </a:r>
            <a:endParaRPr kumimoji="0" lang="nb-NO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ED6677F5-520C-4463-987D-9A62AEC94A32}"/>
              </a:ext>
            </a:extLst>
          </p:cNvPr>
          <p:cNvSpPr txBox="1">
            <a:spLocks/>
          </p:cNvSpPr>
          <p:nvPr/>
        </p:nvSpPr>
        <p:spPr>
          <a:xfrm>
            <a:off x="371347" y="268226"/>
            <a:ext cx="8418747" cy="394051"/>
          </a:xfrm>
          <a:prstGeom prst="rect">
            <a:avLst/>
          </a:prstGeom>
        </p:spPr>
        <p:txBody>
          <a:bodyPr vert="horz" wrap="square" lIns="67500" tIns="35100" rIns="67500" bIns="35100" rtlCol="0" anchor="t" anchorCtr="0">
            <a:spAutoFit/>
          </a:bodyPr>
          <a:lstStyle>
            <a:lvl1pPr algn="l" defTabSz="609585" rtl="0" eaLnBrk="1" latinLnBrk="0" hangingPunct="1">
              <a:spcBef>
                <a:spcPct val="0"/>
              </a:spcBef>
              <a:buNone/>
              <a:defRPr sz="48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Intro til </a:t>
            </a:r>
            <a:r>
              <a:rPr kumimoji="0" lang="nb-NO" sz="21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btb</a:t>
            </a:r>
            <a:r>
              <a:rPr kumimoji="0" lang="nb-NO" sz="2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-prosessen: Innkjøper</a:t>
            </a:r>
          </a:p>
        </p:txBody>
      </p:sp>
      <p:sp>
        <p:nvSpPr>
          <p:cNvPr id="17" name="Rektangel 7">
            <a:extLst>
              <a:ext uri="{FF2B5EF4-FFF2-40B4-BE49-F238E27FC236}">
                <a16:creationId xmlns:a16="http://schemas.microsoft.com/office/drawing/2014/main" id="{2BE1C12F-E477-4C6D-9542-ECC8442B8901}"/>
              </a:ext>
            </a:extLst>
          </p:cNvPr>
          <p:cNvSpPr/>
          <p:nvPr/>
        </p:nvSpPr>
        <p:spPr>
          <a:xfrm>
            <a:off x="6380618" y="2033428"/>
            <a:ext cx="2248125" cy="15878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8588" marR="0" lvl="0" indent="-128588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vtaler og de varer og tjenester som disse avtalene omfatter</a:t>
            </a:r>
          </a:p>
          <a:p>
            <a:pPr marL="128588" marR="0" lvl="0" indent="-128588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Må kunne opprette og behandle innkjøpsforespørsel i innkjøpsløsning</a:t>
            </a:r>
          </a:p>
          <a:p>
            <a:pPr marL="128588" marR="0" lvl="0" indent="-128588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Må kunne attestere inngående faktura og kreditnota i fakturaløsning</a:t>
            </a:r>
          </a:p>
          <a:p>
            <a:pPr marL="128588" marR="0" lvl="0" indent="-128588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ov og forskrift om offentlige anskaffelser (LOA og FOA) og Reglement for økonomistyring i</a:t>
            </a:r>
          </a:p>
          <a:p>
            <a:pPr marL="128588" marR="0" lvl="0" indent="-128588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ten</a:t>
            </a:r>
          </a:p>
          <a:p>
            <a:pPr marL="128588" marR="0" lvl="0" indent="-128588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irksomhetens organisering</a:t>
            </a:r>
          </a:p>
          <a:p>
            <a:pPr marL="128588" marR="0" lvl="0" indent="-128588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irksomhetens økonomimodell, herunder konteringsdimensjonen Mva.-behandling, Anleggsregistrering, Periodisering</a:t>
            </a:r>
          </a:p>
          <a:p>
            <a:pPr marL="128588" lvl="0" indent="-128588" defTabSz="685800">
              <a:buFont typeface="Arial" panose="020B0604020202020204" pitchFamily="34" charset="0"/>
              <a:buChar char="•"/>
              <a:defRPr/>
            </a:pPr>
            <a:r>
              <a:rPr kumimoji="0" lang="nb-NO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rav </a:t>
            </a:r>
            <a:r>
              <a:rPr lang="nb-NO" sz="600">
                <a:solidFill>
                  <a:srgbClr val="000000"/>
                </a:solidFill>
              </a:rPr>
              <a:t>til innsending</a:t>
            </a:r>
          </a:p>
          <a:p>
            <a:pPr marL="128588" lvl="0" indent="-128588" defTabSz="685800">
              <a:buFont typeface="Arial" panose="020B0604020202020204" pitchFamily="34" charset="0"/>
              <a:buChar char="•"/>
              <a:defRPr/>
            </a:pPr>
            <a:r>
              <a:rPr lang="nb-NO" sz="600">
                <a:solidFill>
                  <a:srgbClr val="000000"/>
                </a:solidFill>
              </a:rPr>
              <a:t>Utbetalinger der det ikke foreligger inngående faktura</a:t>
            </a:r>
          </a:p>
          <a:p>
            <a:pPr marL="128588" marR="0" lvl="0" indent="-128588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rav til innsending av elektronisk faktura og merking av inngående faktura</a:t>
            </a:r>
          </a:p>
        </p:txBody>
      </p:sp>
      <p:sp>
        <p:nvSpPr>
          <p:cNvPr id="18" name="TekstSylinder 2">
            <a:extLst>
              <a:ext uri="{FF2B5EF4-FFF2-40B4-BE49-F238E27FC236}">
                <a16:creationId xmlns:a16="http://schemas.microsoft.com/office/drawing/2014/main" id="{E8A051A5-33D8-463D-AF17-966FB96BFE66}"/>
              </a:ext>
            </a:extLst>
          </p:cNvPr>
          <p:cNvSpPr txBox="1"/>
          <p:nvPr/>
        </p:nvSpPr>
        <p:spPr>
          <a:xfrm>
            <a:off x="6309360" y="1768711"/>
            <a:ext cx="127310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ompetansekrav</a:t>
            </a:r>
          </a:p>
        </p:txBody>
      </p:sp>
      <p:sp>
        <p:nvSpPr>
          <p:cNvPr id="21" name="Rektangel 7">
            <a:extLst>
              <a:ext uri="{FF2B5EF4-FFF2-40B4-BE49-F238E27FC236}">
                <a16:creationId xmlns:a16="http://schemas.microsoft.com/office/drawing/2014/main" id="{34287469-F5F6-4BEB-979D-DA92EA9FBED5}"/>
              </a:ext>
            </a:extLst>
          </p:cNvPr>
          <p:cNvSpPr/>
          <p:nvPr/>
        </p:nvSpPr>
        <p:spPr>
          <a:xfrm>
            <a:off x="609752" y="1898215"/>
            <a:ext cx="1306134" cy="155931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66D631D-1D7C-4B3D-961F-8AB273F27901}"/>
              </a:ext>
            </a:extLst>
          </p:cNvPr>
          <p:cNvSpPr txBox="1"/>
          <p:nvPr/>
        </p:nvSpPr>
        <p:spPr>
          <a:xfrm>
            <a:off x="5713077" y="4814470"/>
            <a:ext cx="457802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Se fullstendige beskrivelse av oppgaver i rollebeskrivelse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F7A2C03-CC7C-4A41-BE48-42E4CB6DEFA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9752" y="1915113"/>
            <a:ext cx="1306134" cy="13858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815052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5FE2C19-1B9A-46A3-864B-AA04A0F0C1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54005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5FE2C19-1B9A-46A3-864B-AA04A0F0C1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8E4C28B-F1B0-402B-9DE8-288274C06C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573" y="205979"/>
            <a:ext cx="8381997" cy="461665"/>
          </a:xfrm>
        </p:spPr>
        <p:txBody>
          <a:bodyPr vert="horz"/>
          <a:lstStyle/>
          <a:p>
            <a:r>
              <a:rPr lang="nb-NO" sz="2400"/>
              <a:t>Intro til </a:t>
            </a:r>
            <a:r>
              <a:rPr lang="nb-NO" sz="2400" err="1"/>
              <a:t>BtB</a:t>
            </a:r>
            <a:r>
              <a:rPr lang="nb-NO" sz="2400"/>
              <a:t>-prosessen: Samhandling mellom roll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D1FC7A2-4747-4E7B-8B61-B8F1E4100C99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13805" r="539" b="1270"/>
          <a:stretch/>
        </p:blipFill>
        <p:spPr>
          <a:xfrm>
            <a:off x="537471" y="1019101"/>
            <a:ext cx="7727029" cy="36296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094837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>
            <a:extLst>
              <a:ext uri="{FF2B5EF4-FFF2-40B4-BE49-F238E27FC236}">
                <a16:creationId xmlns:a16="http://schemas.microsoft.com/office/drawing/2014/main" id="{CD0FBA75-5B1B-4306-ACE8-2F851A187D2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23503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6" name="Object 25" hidden="1">
                        <a:extLst>
                          <a:ext uri="{FF2B5EF4-FFF2-40B4-BE49-F238E27FC236}">
                            <a16:creationId xmlns:a16="http://schemas.microsoft.com/office/drawing/2014/main" id="{CD0FBA75-5B1B-4306-ACE8-2F851A187D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104907D-C964-4274-8D19-3C1F43220A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573" y="205979"/>
            <a:ext cx="8381997" cy="1200329"/>
          </a:xfrm>
        </p:spPr>
        <p:txBody>
          <a:bodyPr vert="horz"/>
          <a:lstStyle/>
          <a:p>
            <a:r>
              <a:rPr lang="nb-NO" sz="2400" err="1"/>
              <a:t>Hovedendringer</a:t>
            </a:r>
            <a:r>
              <a:rPr lang="nb-NO" sz="2400"/>
              <a:t> fra dagens prosesser, roller og systemer </a:t>
            </a:r>
            <a:br>
              <a:rPr lang="nb-NO" sz="2400"/>
            </a:br>
            <a:endParaRPr lang="nb-NO" sz="2400"/>
          </a:p>
        </p:txBody>
      </p:sp>
      <p:sp>
        <p:nvSpPr>
          <p:cNvPr id="8" name="Rektangel 24">
            <a:extLst>
              <a:ext uri="{FF2B5EF4-FFF2-40B4-BE49-F238E27FC236}">
                <a16:creationId xmlns:a16="http://schemas.microsoft.com/office/drawing/2014/main" id="{86B5E94D-3D1C-4589-9FD3-1EDB8064897E}"/>
              </a:ext>
            </a:extLst>
          </p:cNvPr>
          <p:cNvSpPr/>
          <p:nvPr/>
        </p:nvSpPr>
        <p:spPr>
          <a:xfrm>
            <a:off x="453120" y="2189080"/>
            <a:ext cx="1187725" cy="83426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Rektangel 7">
            <a:extLst>
              <a:ext uri="{FF2B5EF4-FFF2-40B4-BE49-F238E27FC236}">
                <a16:creationId xmlns:a16="http://schemas.microsoft.com/office/drawing/2014/main" id="{B117E852-7A32-45E0-B410-2CEDCA5645FC}"/>
              </a:ext>
            </a:extLst>
          </p:cNvPr>
          <p:cNvSpPr/>
          <p:nvPr/>
        </p:nvSpPr>
        <p:spPr>
          <a:xfrm>
            <a:off x="1733286" y="2189079"/>
            <a:ext cx="6448690" cy="83427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nb-NO" sz="1200" b="1" kern="0">
                <a:solidFill>
                  <a:srgbClr val="000000"/>
                </a:solidFill>
                <a:latin typeface="Arial"/>
                <a:sym typeface="Arial"/>
              </a:rPr>
              <a:t>Innkjøpergrupper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nb-NO" sz="1200" kern="0">
                <a:solidFill>
                  <a:srgbClr val="000000"/>
                </a:solidFill>
                <a:latin typeface="Arial"/>
                <a:sym typeface="Arial"/>
              </a:rPr>
              <a:t>- tekst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nb-NO" sz="1200" b="1" kern="0">
                <a:solidFill>
                  <a:srgbClr val="000000"/>
                </a:solidFill>
                <a:latin typeface="Arial"/>
                <a:sym typeface="Arial"/>
              </a:rPr>
              <a:t>Felles, standardiserte prosesser og rutiner som støtter systemet 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nb-NO" sz="1200" kern="0">
                <a:solidFill>
                  <a:srgbClr val="000000"/>
                </a:solidFill>
                <a:latin typeface="Arial"/>
                <a:sym typeface="Arial"/>
              </a:rPr>
              <a:t>- Mye tilgjengelig materiale – krever tid til opplæring </a:t>
            </a:r>
            <a:endParaRPr kumimoji="0" lang="nb-NO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4" name="Rektangel 7">
            <a:extLst>
              <a:ext uri="{FF2B5EF4-FFF2-40B4-BE49-F238E27FC236}">
                <a16:creationId xmlns:a16="http://schemas.microsoft.com/office/drawing/2014/main" id="{68FED559-C21C-4381-B33E-3ED00A8EC95F}"/>
              </a:ext>
            </a:extLst>
          </p:cNvPr>
          <p:cNvSpPr/>
          <p:nvPr/>
        </p:nvSpPr>
        <p:spPr>
          <a:xfrm>
            <a:off x="1733286" y="3158017"/>
            <a:ext cx="6448690" cy="115958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lang="nb-NO" sz="1100" b="1" kern="0">
                <a:solidFill>
                  <a:srgbClr val="000000"/>
                </a:solidFill>
                <a:latin typeface="Arial"/>
                <a:sym typeface="Arial"/>
              </a:rPr>
              <a:t>Ett, heldigitalt system: </a:t>
            </a:r>
            <a:br>
              <a:rPr lang="nb-NO" sz="1100" kern="0">
                <a:solidFill>
                  <a:srgbClr val="000000"/>
                </a:solidFill>
                <a:latin typeface="Arial"/>
                <a:sym typeface="Arial"/>
              </a:rPr>
            </a:br>
            <a:r>
              <a:rPr lang="nb-NO" sz="1100" kern="0">
                <a:solidFill>
                  <a:srgbClr val="000000"/>
                </a:solidFill>
                <a:latin typeface="Arial"/>
                <a:sym typeface="Arial"/>
              </a:rPr>
              <a:t>-   Økt funksjonalitet på en rekke områder (plankjøp, tilknytning til avtale, periodisk faktura,         leveringsadresser, </a:t>
            </a:r>
            <a:r>
              <a:rPr lang="nb-NO" sz="1100" kern="0" err="1">
                <a:solidFill>
                  <a:srgbClr val="000000"/>
                </a:solidFill>
                <a:latin typeface="Arial"/>
                <a:sym typeface="Arial"/>
              </a:rPr>
              <a:t>varemottaker</a:t>
            </a:r>
            <a:r>
              <a:rPr lang="nb-NO" sz="1100" kern="0">
                <a:solidFill>
                  <a:srgbClr val="000000"/>
                </a:solidFill>
                <a:latin typeface="Arial"/>
                <a:sym typeface="Arial"/>
              </a:rPr>
              <a:t>, periodisering, </a:t>
            </a:r>
            <a:r>
              <a:rPr lang="nb-NO" sz="1100" kern="0" err="1">
                <a:solidFill>
                  <a:srgbClr val="000000"/>
                </a:solidFill>
                <a:latin typeface="Arial"/>
                <a:sym typeface="Arial"/>
              </a:rPr>
              <a:t>hovedbokstekst</a:t>
            </a:r>
            <a:endParaRPr lang="nb-NO" sz="1100" kern="0">
              <a:solidFill>
                <a:srgbClr val="000000"/>
              </a:solidFill>
              <a:latin typeface="Arial"/>
              <a:sym typeface="Arial"/>
            </a:endParaRPr>
          </a:p>
          <a:p>
            <a:pPr marL="171450" marR="0" lvl="0" indent="-1714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Char char="-"/>
              <a:tabLst/>
              <a:defRPr/>
            </a:pPr>
            <a:r>
              <a:rPr lang="nb-NO" sz="1100" kern="0">
                <a:solidFill>
                  <a:srgbClr val="000000"/>
                </a:solidFill>
                <a:latin typeface="Arial"/>
                <a:sym typeface="Arial"/>
              </a:rPr>
              <a:t>Flere felter å forholde seg til og mer klikking mellom vinduer som kan oppleves mer komplisert enn i dag  </a:t>
            </a:r>
          </a:p>
          <a:p>
            <a:pPr marL="171450" marR="0" lvl="0" indent="-1714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Char char="-"/>
              <a:tabLst/>
              <a:defRPr/>
            </a:pPr>
            <a:r>
              <a:rPr kumimoji="0" lang="nb-NO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Endret </a:t>
            </a:r>
            <a:r>
              <a:rPr kumimoji="0" lang="nb-NO" sz="11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matchelogi</a:t>
            </a:r>
            <a:r>
              <a:rPr lang="nb-NO" sz="1100" kern="0" err="1">
                <a:solidFill>
                  <a:srgbClr val="000000"/>
                </a:solidFill>
                <a:latin typeface="Arial"/>
                <a:sym typeface="Arial"/>
              </a:rPr>
              <a:t>kk</a:t>
            </a:r>
            <a:r>
              <a:rPr lang="nb-NO" sz="1100" kern="0">
                <a:solidFill>
                  <a:srgbClr val="000000"/>
                </a:solidFill>
                <a:latin typeface="Arial"/>
                <a:sym typeface="Arial"/>
              </a:rPr>
              <a:t> fra sum til linjematch: God og korrekt  input helt avgjørende for god output</a:t>
            </a:r>
            <a:endParaRPr kumimoji="0" lang="nb-NO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5" name="Rektangel 24">
            <a:extLst>
              <a:ext uri="{FF2B5EF4-FFF2-40B4-BE49-F238E27FC236}">
                <a16:creationId xmlns:a16="http://schemas.microsoft.com/office/drawing/2014/main" id="{67723FF5-266B-4677-A733-5EC77493D08A}"/>
              </a:ext>
            </a:extLst>
          </p:cNvPr>
          <p:cNvSpPr/>
          <p:nvPr/>
        </p:nvSpPr>
        <p:spPr>
          <a:xfrm>
            <a:off x="453121" y="3158018"/>
            <a:ext cx="1187725" cy="115958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Rektangel 7">
            <a:extLst>
              <a:ext uri="{FF2B5EF4-FFF2-40B4-BE49-F238E27FC236}">
                <a16:creationId xmlns:a16="http://schemas.microsoft.com/office/drawing/2014/main" id="{3A815C49-A948-4978-9A49-C6BC506A3EC1}"/>
              </a:ext>
            </a:extLst>
          </p:cNvPr>
          <p:cNvSpPr/>
          <p:nvPr/>
        </p:nvSpPr>
        <p:spPr>
          <a:xfrm>
            <a:off x="1724441" y="1227367"/>
            <a:ext cx="6448690" cy="8330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nb-NO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Økt profesjonalisering av roller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nb-NO" sz="1100" kern="0">
                <a:solidFill>
                  <a:srgbClr val="000000"/>
                </a:solidFill>
                <a:latin typeface="Arial"/>
                <a:sym typeface="Arial"/>
              </a:rPr>
              <a:t> - Mengdetrening viktig for å være god i systemet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nb-NO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-  Både innkjøper og fagrekvirent  må ha et mer bevisst forhold til bruk av </a:t>
            </a:r>
            <a:r>
              <a:rPr kumimoji="0" lang="nb-NO" sz="11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mva</a:t>
            </a:r>
            <a:r>
              <a:rPr kumimoji="0" lang="nb-NO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-koder</a:t>
            </a:r>
          </a:p>
        </p:txBody>
      </p:sp>
      <p:sp>
        <p:nvSpPr>
          <p:cNvPr id="6" name="Rektangel 24">
            <a:extLst>
              <a:ext uri="{FF2B5EF4-FFF2-40B4-BE49-F238E27FC236}">
                <a16:creationId xmlns:a16="http://schemas.microsoft.com/office/drawing/2014/main" id="{E2E9A47A-430A-473E-8C91-56E7D86E3646}"/>
              </a:ext>
            </a:extLst>
          </p:cNvPr>
          <p:cNvSpPr/>
          <p:nvPr/>
        </p:nvSpPr>
        <p:spPr>
          <a:xfrm>
            <a:off x="453120" y="1226150"/>
            <a:ext cx="1187725" cy="83426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41" name="Group 828">
            <a:extLst>
              <a:ext uri="{FF2B5EF4-FFF2-40B4-BE49-F238E27FC236}">
                <a16:creationId xmlns:a16="http://schemas.microsoft.com/office/drawing/2014/main" id="{640B25E3-DF68-4F56-A6A8-D850B55CD41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26252" y="1327169"/>
            <a:ext cx="637594" cy="635723"/>
            <a:chOff x="5042" y="3019"/>
            <a:chExt cx="341" cy="340"/>
          </a:xfrm>
          <a:solidFill>
            <a:schemeClr val="accent2"/>
          </a:solidFill>
        </p:grpSpPr>
        <p:sp>
          <p:nvSpPr>
            <p:cNvPr id="42" name="Freeform 829">
              <a:extLst>
                <a:ext uri="{FF2B5EF4-FFF2-40B4-BE49-F238E27FC236}">
                  <a16:creationId xmlns:a16="http://schemas.microsoft.com/office/drawing/2014/main" id="{3479A89D-7E84-4A50-B240-35519E9D36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26" y="3139"/>
              <a:ext cx="72" cy="156"/>
            </a:xfrm>
            <a:custGeom>
              <a:avLst/>
              <a:gdLst>
                <a:gd name="T0" fmla="*/ 74 w 107"/>
                <a:gd name="T1" fmla="*/ 8 h 235"/>
                <a:gd name="T2" fmla="*/ 64 w 107"/>
                <a:gd name="T3" fmla="*/ 0 h 235"/>
                <a:gd name="T4" fmla="*/ 43 w 107"/>
                <a:gd name="T5" fmla="*/ 0 h 235"/>
                <a:gd name="T6" fmla="*/ 32 w 107"/>
                <a:gd name="T7" fmla="*/ 8 h 235"/>
                <a:gd name="T8" fmla="*/ 0 w 107"/>
                <a:gd name="T9" fmla="*/ 136 h 235"/>
                <a:gd name="T10" fmla="*/ 2 w 107"/>
                <a:gd name="T11" fmla="*/ 145 h 235"/>
                <a:gd name="T12" fmla="*/ 11 w 107"/>
                <a:gd name="T13" fmla="*/ 149 h 235"/>
                <a:gd name="T14" fmla="*/ 21 w 107"/>
                <a:gd name="T15" fmla="*/ 149 h 235"/>
                <a:gd name="T16" fmla="*/ 21 w 107"/>
                <a:gd name="T17" fmla="*/ 224 h 235"/>
                <a:gd name="T18" fmla="*/ 32 w 107"/>
                <a:gd name="T19" fmla="*/ 235 h 235"/>
                <a:gd name="T20" fmla="*/ 43 w 107"/>
                <a:gd name="T21" fmla="*/ 224 h 235"/>
                <a:gd name="T22" fmla="*/ 43 w 107"/>
                <a:gd name="T23" fmla="*/ 149 h 235"/>
                <a:gd name="T24" fmla="*/ 64 w 107"/>
                <a:gd name="T25" fmla="*/ 149 h 235"/>
                <a:gd name="T26" fmla="*/ 64 w 107"/>
                <a:gd name="T27" fmla="*/ 224 h 235"/>
                <a:gd name="T28" fmla="*/ 75 w 107"/>
                <a:gd name="T29" fmla="*/ 235 h 235"/>
                <a:gd name="T30" fmla="*/ 85 w 107"/>
                <a:gd name="T31" fmla="*/ 224 h 235"/>
                <a:gd name="T32" fmla="*/ 85 w 107"/>
                <a:gd name="T33" fmla="*/ 149 h 235"/>
                <a:gd name="T34" fmla="*/ 96 w 107"/>
                <a:gd name="T35" fmla="*/ 149 h 235"/>
                <a:gd name="T36" fmla="*/ 104 w 107"/>
                <a:gd name="T37" fmla="*/ 145 h 235"/>
                <a:gd name="T38" fmla="*/ 106 w 107"/>
                <a:gd name="T39" fmla="*/ 136 h 235"/>
                <a:gd name="T40" fmla="*/ 74 w 107"/>
                <a:gd name="T41" fmla="*/ 8 h 235"/>
                <a:gd name="T42" fmla="*/ 51 w 107"/>
                <a:gd name="T43" fmla="*/ 21 h 235"/>
                <a:gd name="T44" fmla="*/ 56 w 107"/>
                <a:gd name="T45" fmla="*/ 21 h 235"/>
                <a:gd name="T46" fmla="*/ 82 w 107"/>
                <a:gd name="T47" fmla="*/ 128 h 235"/>
                <a:gd name="T48" fmla="*/ 24 w 107"/>
                <a:gd name="T49" fmla="*/ 128 h 235"/>
                <a:gd name="T50" fmla="*/ 51 w 107"/>
                <a:gd name="T51" fmla="*/ 21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7" h="235">
                  <a:moveTo>
                    <a:pt x="74" y="8"/>
                  </a:moveTo>
                  <a:cubicBezTo>
                    <a:pt x="73" y="3"/>
                    <a:pt x="69" y="0"/>
                    <a:pt x="64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38" y="0"/>
                    <a:pt x="34" y="3"/>
                    <a:pt x="32" y="8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39"/>
                    <a:pt x="0" y="143"/>
                    <a:pt x="2" y="145"/>
                  </a:cubicBezTo>
                  <a:cubicBezTo>
                    <a:pt x="4" y="148"/>
                    <a:pt x="7" y="149"/>
                    <a:pt x="11" y="149"/>
                  </a:cubicBezTo>
                  <a:cubicBezTo>
                    <a:pt x="21" y="149"/>
                    <a:pt x="21" y="149"/>
                    <a:pt x="21" y="149"/>
                  </a:cubicBezTo>
                  <a:cubicBezTo>
                    <a:pt x="21" y="224"/>
                    <a:pt x="21" y="224"/>
                    <a:pt x="21" y="224"/>
                  </a:cubicBezTo>
                  <a:cubicBezTo>
                    <a:pt x="21" y="230"/>
                    <a:pt x="26" y="235"/>
                    <a:pt x="32" y="235"/>
                  </a:cubicBezTo>
                  <a:cubicBezTo>
                    <a:pt x="38" y="235"/>
                    <a:pt x="43" y="230"/>
                    <a:pt x="43" y="224"/>
                  </a:cubicBezTo>
                  <a:cubicBezTo>
                    <a:pt x="43" y="149"/>
                    <a:pt x="43" y="149"/>
                    <a:pt x="43" y="149"/>
                  </a:cubicBezTo>
                  <a:cubicBezTo>
                    <a:pt x="64" y="149"/>
                    <a:pt x="64" y="149"/>
                    <a:pt x="64" y="149"/>
                  </a:cubicBezTo>
                  <a:cubicBezTo>
                    <a:pt x="64" y="224"/>
                    <a:pt x="64" y="224"/>
                    <a:pt x="64" y="224"/>
                  </a:cubicBezTo>
                  <a:cubicBezTo>
                    <a:pt x="64" y="230"/>
                    <a:pt x="69" y="235"/>
                    <a:pt x="75" y="235"/>
                  </a:cubicBezTo>
                  <a:cubicBezTo>
                    <a:pt x="81" y="235"/>
                    <a:pt x="85" y="230"/>
                    <a:pt x="85" y="224"/>
                  </a:cubicBezTo>
                  <a:cubicBezTo>
                    <a:pt x="85" y="149"/>
                    <a:pt x="85" y="149"/>
                    <a:pt x="85" y="149"/>
                  </a:cubicBezTo>
                  <a:cubicBezTo>
                    <a:pt x="96" y="149"/>
                    <a:pt x="96" y="149"/>
                    <a:pt x="96" y="149"/>
                  </a:cubicBezTo>
                  <a:cubicBezTo>
                    <a:pt x="99" y="149"/>
                    <a:pt x="102" y="148"/>
                    <a:pt x="104" y="145"/>
                  </a:cubicBezTo>
                  <a:cubicBezTo>
                    <a:pt x="106" y="143"/>
                    <a:pt x="107" y="139"/>
                    <a:pt x="106" y="136"/>
                  </a:cubicBezTo>
                  <a:lnTo>
                    <a:pt x="74" y="8"/>
                  </a:lnTo>
                  <a:close/>
                  <a:moveTo>
                    <a:pt x="51" y="21"/>
                  </a:moveTo>
                  <a:cubicBezTo>
                    <a:pt x="56" y="21"/>
                    <a:pt x="56" y="21"/>
                    <a:pt x="56" y="21"/>
                  </a:cubicBezTo>
                  <a:cubicBezTo>
                    <a:pt x="82" y="128"/>
                    <a:pt x="82" y="128"/>
                    <a:pt x="82" y="128"/>
                  </a:cubicBezTo>
                  <a:cubicBezTo>
                    <a:pt x="24" y="128"/>
                    <a:pt x="24" y="128"/>
                    <a:pt x="24" y="128"/>
                  </a:cubicBezTo>
                  <a:lnTo>
                    <a:pt x="51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:mc="http://schemas.openxmlformats.org/markup-compatibility/2006" xmlns:p14="http://schemas.microsoft.com/office/powerpoint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" name="Freeform 830">
              <a:extLst>
                <a:ext uri="{FF2B5EF4-FFF2-40B4-BE49-F238E27FC236}">
                  <a16:creationId xmlns:a16="http://schemas.microsoft.com/office/drawing/2014/main" id="{48EBE319-DF7C-418B-ADDE-32423F28F7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40" y="3083"/>
              <a:ext cx="43" cy="42"/>
            </a:xfrm>
            <a:custGeom>
              <a:avLst/>
              <a:gdLst>
                <a:gd name="T0" fmla="*/ 32 w 64"/>
                <a:gd name="T1" fmla="*/ 64 h 64"/>
                <a:gd name="T2" fmla="*/ 64 w 64"/>
                <a:gd name="T3" fmla="*/ 32 h 64"/>
                <a:gd name="T4" fmla="*/ 32 w 64"/>
                <a:gd name="T5" fmla="*/ 0 h 64"/>
                <a:gd name="T6" fmla="*/ 0 w 64"/>
                <a:gd name="T7" fmla="*/ 32 h 64"/>
                <a:gd name="T8" fmla="*/ 32 w 64"/>
                <a:gd name="T9" fmla="*/ 64 h 64"/>
                <a:gd name="T10" fmla="*/ 32 w 64"/>
                <a:gd name="T11" fmla="*/ 21 h 64"/>
                <a:gd name="T12" fmla="*/ 43 w 64"/>
                <a:gd name="T13" fmla="*/ 32 h 64"/>
                <a:gd name="T14" fmla="*/ 32 w 64"/>
                <a:gd name="T15" fmla="*/ 42 h 64"/>
                <a:gd name="T16" fmla="*/ 22 w 64"/>
                <a:gd name="T17" fmla="*/ 32 h 64"/>
                <a:gd name="T18" fmla="*/ 32 w 64"/>
                <a:gd name="T19" fmla="*/ 2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32" y="64"/>
                  </a:moveTo>
                  <a:cubicBezTo>
                    <a:pt x="50" y="64"/>
                    <a:pt x="64" y="49"/>
                    <a:pt x="64" y="32"/>
                  </a:cubicBezTo>
                  <a:cubicBezTo>
                    <a:pt x="64" y="14"/>
                    <a:pt x="50" y="0"/>
                    <a:pt x="32" y="0"/>
                  </a:cubicBezTo>
                  <a:cubicBezTo>
                    <a:pt x="15" y="0"/>
                    <a:pt x="0" y="14"/>
                    <a:pt x="0" y="32"/>
                  </a:cubicBezTo>
                  <a:cubicBezTo>
                    <a:pt x="0" y="49"/>
                    <a:pt x="15" y="64"/>
                    <a:pt x="32" y="64"/>
                  </a:cubicBezTo>
                  <a:close/>
                  <a:moveTo>
                    <a:pt x="32" y="21"/>
                  </a:moveTo>
                  <a:cubicBezTo>
                    <a:pt x="38" y="21"/>
                    <a:pt x="43" y="26"/>
                    <a:pt x="43" y="32"/>
                  </a:cubicBezTo>
                  <a:cubicBezTo>
                    <a:pt x="43" y="38"/>
                    <a:pt x="38" y="42"/>
                    <a:pt x="32" y="42"/>
                  </a:cubicBezTo>
                  <a:cubicBezTo>
                    <a:pt x="26" y="42"/>
                    <a:pt x="22" y="38"/>
                    <a:pt x="22" y="32"/>
                  </a:cubicBezTo>
                  <a:cubicBezTo>
                    <a:pt x="22" y="26"/>
                    <a:pt x="26" y="21"/>
                    <a:pt x="32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:mc="http://schemas.openxmlformats.org/markup-compatibility/2006" xmlns:p14="http://schemas.microsoft.com/office/powerpoint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4" name="Freeform 831">
              <a:extLst>
                <a:ext uri="{FF2B5EF4-FFF2-40B4-BE49-F238E27FC236}">
                  <a16:creationId xmlns:a16="http://schemas.microsoft.com/office/drawing/2014/main" id="{BAC99FEE-B8FF-4525-979C-0F64933553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27" y="3139"/>
              <a:ext cx="71" cy="156"/>
            </a:xfrm>
            <a:custGeom>
              <a:avLst/>
              <a:gdLst>
                <a:gd name="T0" fmla="*/ 96 w 106"/>
                <a:gd name="T1" fmla="*/ 0 h 235"/>
                <a:gd name="T2" fmla="*/ 10 w 106"/>
                <a:gd name="T3" fmla="*/ 0 h 235"/>
                <a:gd name="T4" fmla="*/ 0 w 106"/>
                <a:gd name="T5" fmla="*/ 11 h 235"/>
                <a:gd name="T6" fmla="*/ 0 w 106"/>
                <a:gd name="T7" fmla="*/ 117 h 235"/>
                <a:gd name="T8" fmla="*/ 10 w 106"/>
                <a:gd name="T9" fmla="*/ 128 h 235"/>
                <a:gd name="T10" fmla="*/ 21 w 106"/>
                <a:gd name="T11" fmla="*/ 128 h 235"/>
                <a:gd name="T12" fmla="*/ 21 w 106"/>
                <a:gd name="T13" fmla="*/ 224 h 235"/>
                <a:gd name="T14" fmla="*/ 32 w 106"/>
                <a:gd name="T15" fmla="*/ 235 h 235"/>
                <a:gd name="T16" fmla="*/ 42 w 106"/>
                <a:gd name="T17" fmla="*/ 224 h 235"/>
                <a:gd name="T18" fmla="*/ 42 w 106"/>
                <a:gd name="T19" fmla="*/ 128 h 235"/>
                <a:gd name="T20" fmla="*/ 64 w 106"/>
                <a:gd name="T21" fmla="*/ 128 h 235"/>
                <a:gd name="T22" fmla="*/ 64 w 106"/>
                <a:gd name="T23" fmla="*/ 224 h 235"/>
                <a:gd name="T24" fmla="*/ 74 w 106"/>
                <a:gd name="T25" fmla="*/ 235 h 235"/>
                <a:gd name="T26" fmla="*/ 85 w 106"/>
                <a:gd name="T27" fmla="*/ 224 h 235"/>
                <a:gd name="T28" fmla="*/ 85 w 106"/>
                <a:gd name="T29" fmla="*/ 128 h 235"/>
                <a:gd name="T30" fmla="*/ 96 w 106"/>
                <a:gd name="T31" fmla="*/ 128 h 235"/>
                <a:gd name="T32" fmla="*/ 106 w 106"/>
                <a:gd name="T33" fmla="*/ 117 h 235"/>
                <a:gd name="T34" fmla="*/ 106 w 106"/>
                <a:gd name="T35" fmla="*/ 11 h 235"/>
                <a:gd name="T36" fmla="*/ 96 w 106"/>
                <a:gd name="T37" fmla="*/ 0 h 235"/>
                <a:gd name="T38" fmla="*/ 85 w 106"/>
                <a:gd name="T39" fmla="*/ 107 h 235"/>
                <a:gd name="T40" fmla="*/ 21 w 106"/>
                <a:gd name="T41" fmla="*/ 107 h 235"/>
                <a:gd name="T42" fmla="*/ 21 w 106"/>
                <a:gd name="T43" fmla="*/ 21 h 235"/>
                <a:gd name="T44" fmla="*/ 85 w 106"/>
                <a:gd name="T45" fmla="*/ 21 h 235"/>
                <a:gd name="T46" fmla="*/ 85 w 106"/>
                <a:gd name="T47" fmla="*/ 107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6" h="235">
                  <a:moveTo>
                    <a:pt x="96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0" y="123"/>
                    <a:pt x="4" y="128"/>
                    <a:pt x="10" y="128"/>
                  </a:cubicBezTo>
                  <a:cubicBezTo>
                    <a:pt x="21" y="128"/>
                    <a:pt x="21" y="128"/>
                    <a:pt x="21" y="128"/>
                  </a:cubicBezTo>
                  <a:cubicBezTo>
                    <a:pt x="21" y="224"/>
                    <a:pt x="21" y="224"/>
                    <a:pt x="21" y="224"/>
                  </a:cubicBezTo>
                  <a:cubicBezTo>
                    <a:pt x="21" y="230"/>
                    <a:pt x="26" y="235"/>
                    <a:pt x="32" y="235"/>
                  </a:cubicBezTo>
                  <a:cubicBezTo>
                    <a:pt x="38" y="235"/>
                    <a:pt x="42" y="230"/>
                    <a:pt x="42" y="224"/>
                  </a:cubicBezTo>
                  <a:cubicBezTo>
                    <a:pt x="42" y="128"/>
                    <a:pt x="42" y="128"/>
                    <a:pt x="42" y="128"/>
                  </a:cubicBezTo>
                  <a:cubicBezTo>
                    <a:pt x="64" y="128"/>
                    <a:pt x="64" y="128"/>
                    <a:pt x="64" y="128"/>
                  </a:cubicBezTo>
                  <a:cubicBezTo>
                    <a:pt x="64" y="224"/>
                    <a:pt x="64" y="224"/>
                    <a:pt x="64" y="224"/>
                  </a:cubicBezTo>
                  <a:cubicBezTo>
                    <a:pt x="64" y="230"/>
                    <a:pt x="68" y="235"/>
                    <a:pt x="74" y="235"/>
                  </a:cubicBezTo>
                  <a:cubicBezTo>
                    <a:pt x="80" y="235"/>
                    <a:pt x="85" y="230"/>
                    <a:pt x="85" y="224"/>
                  </a:cubicBezTo>
                  <a:cubicBezTo>
                    <a:pt x="85" y="128"/>
                    <a:pt x="85" y="128"/>
                    <a:pt x="85" y="128"/>
                  </a:cubicBezTo>
                  <a:cubicBezTo>
                    <a:pt x="96" y="128"/>
                    <a:pt x="96" y="128"/>
                    <a:pt x="96" y="128"/>
                  </a:cubicBezTo>
                  <a:cubicBezTo>
                    <a:pt x="102" y="128"/>
                    <a:pt x="106" y="123"/>
                    <a:pt x="106" y="117"/>
                  </a:cubicBezTo>
                  <a:cubicBezTo>
                    <a:pt x="106" y="11"/>
                    <a:pt x="106" y="11"/>
                    <a:pt x="106" y="11"/>
                  </a:cubicBezTo>
                  <a:cubicBezTo>
                    <a:pt x="106" y="5"/>
                    <a:pt x="102" y="0"/>
                    <a:pt x="96" y="0"/>
                  </a:cubicBezTo>
                  <a:close/>
                  <a:moveTo>
                    <a:pt x="85" y="107"/>
                  </a:moveTo>
                  <a:cubicBezTo>
                    <a:pt x="21" y="107"/>
                    <a:pt x="21" y="107"/>
                    <a:pt x="21" y="107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85" y="21"/>
                    <a:pt x="85" y="21"/>
                    <a:pt x="85" y="21"/>
                  </a:cubicBezTo>
                  <a:lnTo>
                    <a:pt x="85" y="1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:mc="http://schemas.openxmlformats.org/markup-compatibility/2006" xmlns:p14="http://schemas.microsoft.com/office/powerpoint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5" name="Freeform 832">
              <a:extLst>
                <a:ext uri="{FF2B5EF4-FFF2-40B4-BE49-F238E27FC236}">
                  <a16:creationId xmlns:a16="http://schemas.microsoft.com/office/drawing/2014/main" id="{4E9A7457-C003-456C-AA41-92D2FA0355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41" y="3083"/>
              <a:ext cx="43" cy="42"/>
            </a:xfrm>
            <a:custGeom>
              <a:avLst/>
              <a:gdLst>
                <a:gd name="T0" fmla="*/ 32 w 64"/>
                <a:gd name="T1" fmla="*/ 64 h 64"/>
                <a:gd name="T2" fmla="*/ 64 w 64"/>
                <a:gd name="T3" fmla="*/ 32 h 64"/>
                <a:gd name="T4" fmla="*/ 32 w 64"/>
                <a:gd name="T5" fmla="*/ 0 h 64"/>
                <a:gd name="T6" fmla="*/ 0 w 64"/>
                <a:gd name="T7" fmla="*/ 32 h 64"/>
                <a:gd name="T8" fmla="*/ 32 w 64"/>
                <a:gd name="T9" fmla="*/ 64 h 64"/>
                <a:gd name="T10" fmla="*/ 32 w 64"/>
                <a:gd name="T11" fmla="*/ 21 h 64"/>
                <a:gd name="T12" fmla="*/ 43 w 64"/>
                <a:gd name="T13" fmla="*/ 32 h 64"/>
                <a:gd name="T14" fmla="*/ 32 w 64"/>
                <a:gd name="T15" fmla="*/ 42 h 64"/>
                <a:gd name="T16" fmla="*/ 21 w 64"/>
                <a:gd name="T17" fmla="*/ 32 h 64"/>
                <a:gd name="T18" fmla="*/ 32 w 64"/>
                <a:gd name="T19" fmla="*/ 2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32" y="64"/>
                  </a:moveTo>
                  <a:cubicBezTo>
                    <a:pt x="50" y="64"/>
                    <a:pt x="64" y="49"/>
                    <a:pt x="64" y="32"/>
                  </a:cubicBezTo>
                  <a:cubicBezTo>
                    <a:pt x="64" y="14"/>
                    <a:pt x="50" y="0"/>
                    <a:pt x="32" y="0"/>
                  </a:cubicBezTo>
                  <a:cubicBezTo>
                    <a:pt x="14" y="0"/>
                    <a:pt x="0" y="14"/>
                    <a:pt x="0" y="32"/>
                  </a:cubicBezTo>
                  <a:cubicBezTo>
                    <a:pt x="0" y="49"/>
                    <a:pt x="14" y="64"/>
                    <a:pt x="32" y="64"/>
                  </a:cubicBezTo>
                  <a:close/>
                  <a:moveTo>
                    <a:pt x="32" y="21"/>
                  </a:moveTo>
                  <a:cubicBezTo>
                    <a:pt x="38" y="21"/>
                    <a:pt x="43" y="26"/>
                    <a:pt x="43" y="32"/>
                  </a:cubicBezTo>
                  <a:cubicBezTo>
                    <a:pt x="43" y="38"/>
                    <a:pt x="38" y="42"/>
                    <a:pt x="32" y="42"/>
                  </a:cubicBezTo>
                  <a:cubicBezTo>
                    <a:pt x="26" y="42"/>
                    <a:pt x="21" y="38"/>
                    <a:pt x="21" y="32"/>
                  </a:cubicBezTo>
                  <a:cubicBezTo>
                    <a:pt x="21" y="26"/>
                    <a:pt x="26" y="21"/>
                    <a:pt x="32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:mc="http://schemas.openxmlformats.org/markup-compatibility/2006" xmlns:p14="http://schemas.microsoft.com/office/powerpoint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6" name="Freeform 833">
              <a:extLst>
                <a:ext uri="{FF2B5EF4-FFF2-40B4-BE49-F238E27FC236}">
                  <a16:creationId xmlns:a16="http://schemas.microsoft.com/office/drawing/2014/main" id="{FBE0667F-FEE8-4AC8-A3F5-673C1B2CB9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42" y="3019"/>
              <a:ext cx="341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256 w 512"/>
                <a:gd name="T11" fmla="*/ 490 h 512"/>
                <a:gd name="T12" fmla="*/ 21 w 512"/>
                <a:gd name="T13" fmla="*/ 256 h 512"/>
                <a:gd name="T14" fmla="*/ 256 w 512"/>
                <a:gd name="T15" fmla="*/ 21 h 512"/>
                <a:gd name="T16" fmla="*/ 490 w 512"/>
                <a:gd name="T17" fmla="*/ 256 h 512"/>
                <a:gd name="T18" fmla="*/ 256 w 512"/>
                <a:gd name="T19" fmla="*/ 49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256" y="490"/>
                  </a:move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:mc="http://schemas.openxmlformats.org/markup-compatibility/2006" xmlns:p14="http://schemas.microsoft.com/office/powerpoint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47" name="Group 299">
            <a:extLst>
              <a:ext uri="{FF2B5EF4-FFF2-40B4-BE49-F238E27FC236}">
                <a16:creationId xmlns:a16="http://schemas.microsoft.com/office/drawing/2014/main" id="{0E77ACF6-CFDA-4685-8B93-CDED278E737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60153" y="3433570"/>
            <a:ext cx="637966" cy="636086"/>
            <a:chOff x="1166" y="1121"/>
            <a:chExt cx="341" cy="340"/>
          </a:xfrm>
          <a:solidFill>
            <a:schemeClr val="accent2"/>
          </a:solidFill>
        </p:grpSpPr>
        <p:sp>
          <p:nvSpPr>
            <p:cNvPr id="48" name="Freeform 300">
              <a:extLst>
                <a:ext uri="{FF2B5EF4-FFF2-40B4-BE49-F238E27FC236}">
                  <a16:creationId xmlns:a16="http://schemas.microsoft.com/office/drawing/2014/main" id="{8674D191-DB93-4C97-B678-4DF4739002D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30" y="1213"/>
              <a:ext cx="213" cy="170"/>
            </a:xfrm>
            <a:custGeom>
              <a:avLst/>
              <a:gdLst>
                <a:gd name="T0" fmla="*/ 309 w 320"/>
                <a:gd name="T1" fmla="*/ 0 h 256"/>
                <a:gd name="T2" fmla="*/ 10 w 320"/>
                <a:gd name="T3" fmla="*/ 0 h 256"/>
                <a:gd name="T4" fmla="*/ 0 w 320"/>
                <a:gd name="T5" fmla="*/ 11 h 256"/>
                <a:gd name="T6" fmla="*/ 0 w 320"/>
                <a:gd name="T7" fmla="*/ 203 h 256"/>
                <a:gd name="T8" fmla="*/ 10 w 320"/>
                <a:gd name="T9" fmla="*/ 214 h 256"/>
                <a:gd name="T10" fmla="*/ 149 w 320"/>
                <a:gd name="T11" fmla="*/ 214 h 256"/>
                <a:gd name="T12" fmla="*/ 149 w 320"/>
                <a:gd name="T13" fmla="*/ 235 h 256"/>
                <a:gd name="T14" fmla="*/ 106 w 320"/>
                <a:gd name="T15" fmla="*/ 235 h 256"/>
                <a:gd name="T16" fmla="*/ 96 w 320"/>
                <a:gd name="T17" fmla="*/ 246 h 256"/>
                <a:gd name="T18" fmla="*/ 106 w 320"/>
                <a:gd name="T19" fmla="*/ 256 h 256"/>
                <a:gd name="T20" fmla="*/ 213 w 320"/>
                <a:gd name="T21" fmla="*/ 256 h 256"/>
                <a:gd name="T22" fmla="*/ 224 w 320"/>
                <a:gd name="T23" fmla="*/ 246 h 256"/>
                <a:gd name="T24" fmla="*/ 213 w 320"/>
                <a:gd name="T25" fmla="*/ 235 h 256"/>
                <a:gd name="T26" fmla="*/ 170 w 320"/>
                <a:gd name="T27" fmla="*/ 235 h 256"/>
                <a:gd name="T28" fmla="*/ 170 w 320"/>
                <a:gd name="T29" fmla="*/ 214 h 256"/>
                <a:gd name="T30" fmla="*/ 309 w 320"/>
                <a:gd name="T31" fmla="*/ 214 h 256"/>
                <a:gd name="T32" fmla="*/ 320 w 320"/>
                <a:gd name="T33" fmla="*/ 203 h 256"/>
                <a:gd name="T34" fmla="*/ 320 w 320"/>
                <a:gd name="T35" fmla="*/ 11 h 256"/>
                <a:gd name="T36" fmla="*/ 309 w 320"/>
                <a:gd name="T37" fmla="*/ 0 h 256"/>
                <a:gd name="T38" fmla="*/ 298 w 320"/>
                <a:gd name="T39" fmla="*/ 192 h 256"/>
                <a:gd name="T40" fmla="*/ 21 w 320"/>
                <a:gd name="T41" fmla="*/ 192 h 256"/>
                <a:gd name="T42" fmla="*/ 21 w 320"/>
                <a:gd name="T43" fmla="*/ 22 h 256"/>
                <a:gd name="T44" fmla="*/ 298 w 320"/>
                <a:gd name="T45" fmla="*/ 22 h 256"/>
                <a:gd name="T46" fmla="*/ 298 w 320"/>
                <a:gd name="T47" fmla="*/ 192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20" h="256">
                  <a:moveTo>
                    <a:pt x="309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0" y="209"/>
                    <a:pt x="4" y="214"/>
                    <a:pt x="10" y="214"/>
                  </a:cubicBezTo>
                  <a:cubicBezTo>
                    <a:pt x="149" y="214"/>
                    <a:pt x="149" y="214"/>
                    <a:pt x="149" y="214"/>
                  </a:cubicBezTo>
                  <a:cubicBezTo>
                    <a:pt x="149" y="235"/>
                    <a:pt x="149" y="235"/>
                    <a:pt x="149" y="235"/>
                  </a:cubicBezTo>
                  <a:cubicBezTo>
                    <a:pt x="106" y="235"/>
                    <a:pt x="106" y="235"/>
                    <a:pt x="106" y="235"/>
                  </a:cubicBezTo>
                  <a:cubicBezTo>
                    <a:pt x="100" y="235"/>
                    <a:pt x="96" y="240"/>
                    <a:pt x="96" y="246"/>
                  </a:cubicBezTo>
                  <a:cubicBezTo>
                    <a:pt x="96" y="252"/>
                    <a:pt x="100" y="256"/>
                    <a:pt x="106" y="256"/>
                  </a:cubicBezTo>
                  <a:cubicBezTo>
                    <a:pt x="213" y="256"/>
                    <a:pt x="213" y="256"/>
                    <a:pt x="213" y="256"/>
                  </a:cubicBezTo>
                  <a:cubicBezTo>
                    <a:pt x="219" y="256"/>
                    <a:pt x="224" y="252"/>
                    <a:pt x="224" y="246"/>
                  </a:cubicBezTo>
                  <a:cubicBezTo>
                    <a:pt x="224" y="240"/>
                    <a:pt x="219" y="235"/>
                    <a:pt x="213" y="235"/>
                  </a:cubicBezTo>
                  <a:cubicBezTo>
                    <a:pt x="170" y="235"/>
                    <a:pt x="170" y="235"/>
                    <a:pt x="170" y="235"/>
                  </a:cubicBezTo>
                  <a:cubicBezTo>
                    <a:pt x="170" y="214"/>
                    <a:pt x="170" y="214"/>
                    <a:pt x="170" y="214"/>
                  </a:cubicBezTo>
                  <a:cubicBezTo>
                    <a:pt x="309" y="214"/>
                    <a:pt x="309" y="214"/>
                    <a:pt x="309" y="214"/>
                  </a:cubicBezTo>
                  <a:cubicBezTo>
                    <a:pt x="315" y="214"/>
                    <a:pt x="320" y="209"/>
                    <a:pt x="320" y="203"/>
                  </a:cubicBezTo>
                  <a:cubicBezTo>
                    <a:pt x="320" y="11"/>
                    <a:pt x="320" y="11"/>
                    <a:pt x="320" y="11"/>
                  </a:cubicBezTo>
                  <a:cubicBezTo>
                    <a:pt x="320" y="5"/>
                    <a:pt x="315" y="0"/>
                    <a:pt x="309" y="0"/>
                  </a:cubicBezTo>
                  <a:close/>
                  <a:moveTo>
                    <a:pt x="298" y="192"/>
                  </a:moveTo>
                  <a:cubicBezTo>
                    <a:pt x="21" y="192"/>
                    <a:pt x="21" y="192"/>
                    <a:pt x="21" y="192"/>
                  </a:cubicBezTo>
                  <a:cubicBezTo>
                    <a:pt x="21" y="22"/>
                    <a:pt x="21" y="22"/>
                    <a:pt x="21" y="22"/>
                  </a:cubicBezTo>
                  <a:cubicBezTo>
                    <a:pt x="298" y="22"/>
                    <a:pt x="298" y="22"/>
                    <a:pt x="298" y="22"/>
                  </a:cubicBezTo>
                  <a:lnTo>
                    <a:pt x="298" y="1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:mc="http://schemas.openxmlformats.org/markup-compatibility/2006" xmlns:p14="http://schemas.microsoft.com/office/powerpoint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96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9" name="Freeform 301">
              <a:extLst>
                <a:ext uri="{FF2B5EF4-FFF2-40B4-BE49-F238E27FC236}">
                  <a16:creationId xmlns:a16="http://schemas.microsoft.com/office/drawing/2014/main" id="{AED8F945-75A3-48DA-A68F-C6AB02975C3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66" y="1121"/>
              <a:ext cx="341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:mc="http://schemas.openxmlformats.org/markup-compatibility/2006" xmlns:p14="http://schemas.microsoft.com/office/powerpoint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96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23" name="Group 862">
            <a:extLst>
              <a:ext uri="{FF2B5EF4-FFF2-40B4-BE49-F238E27FC236}">
                <a16:creationId xmlns:a16="http://schemas.microsoft.com/office/drawing/2014/main" id="{5C51FA30-BD18-4429-93C1-28EDF3EC6F3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26252" y="2290619"/>
            <a:ext cx="635340" cy="637200"/>
            <a:chOff x="6607" y="3441"/>
            <a:chExt cx="340" cy="341"/>
          </a:xfrm>
          <a:solidFill>
            <a:srgbClr val="00509E"/>
          </a:solidFill>
        </p:grpSpPr>
        <p:sp>
          <p:nvSpPr>
            <p:cNvPr id="24" name="Freeform 863">
              <a:extLst>
                <a:ext uri="{FF2B5EF4-FFF2-40B4-BE49-F238E27FC236}">
                  <a16:creationId xmlns:a16="http://schemas.microsoft.com/office/drawing/2014/main" id="{9D28CD38-95CE-429B-B21D-6431930E17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07" y="3441"/>
              <a:ext cx="340" cy="34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:mc="http://schemas.openxmlformats.org/markup-compatibility/2006" xmlns:p14="http://schemas.microsoft.com/office/powerpoint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96"/>
            </a:p>
          </p:txBody>
        </p:sp>
        <p:sp>
          <p:nvSpPr>
            <p:cNvPr id="25" name="Freeform 864">
              <a:extLst>
                <a:ext uri="{FF2B5EF4-FFF2-40B4-BE49-F238E27FC236}">
                  <a16:creationId xmlns:a16="http://schemas.microsoft.com/office/drawing/2014/main" id="{2BEC872F-1EF6-42EC-AA21-FE0E5AD12E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71" y="3519"/>
              <a:ext cx="198" cy="184"/>
            </a:xfrm>
            <a:custGeom>
              <a:avLst/>
              <a:gdLst>
                <a:gd name="T0" fmla="*/ 256 w 298"/>
                <a:gd name="T1" fmla="*/ 192 h 277"/>
                <a:gd name="T2" fmla="*/ 223 w 298"/>
                <a:gd name="T3" fmla="*/ 208 h 277"/>
                <a:gd name="T4" fmla="*/ 84 w 298"/>
                <a:gd name="T5" fmla="*/ 146 h 277"/>
                <a:gd name="T6" fmla="*/ 85 w 298"/>
                <a:gd name="T7" fmla="*/ 139 h 277"/>
                <a:gd name="T8" fmla="*/ 84 w 298"/>
                <a:gd name="T9" fmla="*/ 131 h 277"/>
                <a:gd name="T10" fmla="*/ 223 w 298"/>
                <a:gd name="T11" fmla="*/ 69 h 277"/>
                <a:gd name="T12" fmla="*/ 256 w 298"/>
                <a:gd name="T13" fmla="*/ 85 h 277"/>
                <a:gd name="T14" fmla="*/ 298 w 298"/>
                <a:gd name="T15" fmla="*/ 43 h 277"/>
                <a:gd name="T16" fmla="*/ 256 w 298"/>
                <a:gd name="T17" fmla="*/ 0 h 277"/>
                <a:gd name="T18" fmla="*/ 213 w 298"/>
                <a:gd name="T19" fmla="*/ 43 h 277"/>
                <a:gd name="T20" fmla="*/ 214 w 298"/>
                <a:gd name="T21" fmla="*/ 50 h 277"/>
                <a:gd name="T22" fmla="*/ 75 w 298"/>
                <a:gd name="T23" fmla="*/ 112 h 277"/>
                <a:gd name="T24" fmla="*/ 42 w 298"/>
                <a:gd name="T25" fmla="*/ 96 h 277"/>
                <a:gd name="T26" fmla="*/ 0 w 298"/>
                <a:gd name="T27" fmla="*/ 139 h 277"/>
                <a:gd name="T28" fmla="*/ 42 w 298"/>
                <a:gd name="T29" fmla="*/ 181 h 277"/>
                <a:gd name="T30" fmla="*/ 75 w 298"/>
                <a:gd name="T31" fmla="*/ 165 h 277"/>
                <a:gd name="T32" fmla="*/ 214 w 298"/>
                <a:gd name="T33" fmla="*/ 227 h 277"/>
                <a:gd name="T34" fmla="*/ 213 w 298"/>
                <a:gd name="T35" fmla="*/ 235 h 277"/>
                <a:gd name="T36" fmla="*/ 256 w 298"/>
                <a:gd name="T37" fmla="*/ 277 h 277"/>
                <a:gd name="T38" fmla="*/ 298 w 298"/>
                <a:gd name="T39" fmla="*/ 235 h 277"/>
                <a:gd name="T40" fmla="*/ 256 w 298"/>
                <a:gd name="T41" fmla="*/ 192 h 277"/>
                <a:gd name="T42" fmla="*/ 256 w 298"/>
                <a:gd name="T43" fmla="*/ 21 h 277"/>
                <a:gd name="T44" fmla="*/ 277 w 298"/>
                <a:gd name="T45" fmla="*/ 43 h 277"/>
                <a:gd name="T46" fmla="*/ 256 w 298"/>
                <a:gd name="T47" fmla="*/ 64 h 277"/>
                <a:gd name="T48" fmla="*/ 234 w 298"/>
                <a:gd name="T49" fmla="*/ 43 h 277"/>
                <a:gd name="T50" fmla="*/ 256 w 298"/>
                <a:gd name="T51" fmla="*/ 21 h 277"/>
                <a:gd name="T52" fmla="*/ 42 w 298"/>
                <a:gd name="T53" fmla="*/ 160 h 277"/>
                <a:gd name="T54" fmla="*/ 21 w 298"/>
                <a:gd name="T55" fmla="*/ 139 h 277"/>
                <a:gd name="T56" fmla="*/ 42 w 298"/>
                <a:gd name="T57" fmla="*/ 117 h 277"/>
                <a:gd name="T58" fmla="*/ 64 w 298"/>
                <a:gd name="T59" fmla="*/ 139 h 277"/>
                <a:gd name="T60" fmla="*/ 42 w 298"/>
                <a:gd name="T61" fmla="*/ 160 h 277"/>
                <a:gd name="T62" fmla="*/ 256 w 298"/>
                <a:gd name="T63" fmla="*/ 256 h 277"/>
                <a:gd name="T64" fmla="*/ 234 w 298"/>
                <a:gd name="T65" fmla="*/ 235 h 277"/>
                <a:gd name="T66" fmla="*/ 256 w 298"/>
                <a:gd name="T67" fmla="*/ 213 h 277"/>
                <a:gd name="T68" fmla="*/ 277 w 298"/>
                <a:gd name="T69" fmla="*/ 235 h 277"/>
                <a:gd name="T70" fmla="*/ 256 w 298"/>
                <a:gd name="T71" fmla="*/ 256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98" h="277">
                  <a:moveTo>
                    <a:pt x="256" y="192"/>
                  </a:moveTo>
                  <a:cubicBezTo>
                    <a:pt x="242" y="192"/>
                    <a:pt x="230" y="198"/>
                    <a:pt x="223" y="208"/>
                  </a:cubicBezTo>
                  <a:cubicBezTo>
                    <a:pt x="84" y="146"/>
                    <a:pt x="84" y="146"/>
                    <a:pt x="84" y="146"/>
                  </a:cubicBezTo>
                  <a:cubicBezTo>
                    <a:pt x="85" y="143"/>
                    <a:pt x="85" y="141"/>
                    <a:pt x="85" y="139"/>
                  </a:cubicBezTo>
                  <a:cubicBezTo>
                    <a:pt x="85" y="136"/>
                    <a:pt x="85" y="134"/>
                    <a:pt x="84" y="131"/>
                  </a:cubicBezTo>
                  <a:cubicBezTo>
                    <a:pt x="223" y="69"/>
                    <a:pt x="223" y="69"/>
                    <a:pt x="223" y="69"/>
                  </a:cubicBezTo>
                  <a:cubicBezTo>
                    <a:pt x="230" y="79"/>
                    <a:pt x="242" y="85"/>
                    <a:pt x="256" y="85"/>
                  </a:cubicBezTo>
                  <a:cubicBezTo>
                    <a:pt x="279" y="85"/>
                    <a:pt x="298" y="66"/>
                    <a:pt x="298" y="43"/>
                  </a:cubicBezTo>
                  <a:cubicBezTo>
                    <a:pt x="298" y="19"/>
                    <a:pt x="279" y="0"/>
                    <a:pt x="256" y="0"/>
                  </a:cubicBezTo>
                  <a:cubicBezTo>
                    <a:pt x="232" y="0"/>
                    <a:pt x="213" y="19"/>
                    <a:pt x="213" y="43"/>
                  </a:cubicBezTo>
                  <a:cubicBezTo>
                    <a:pt x="213" y="45"/>
                    <a:pt x="213" y="48"/>
                    <a:pt x="214" y="50"/>
                  </a:cubicBezTo>
                  <a:cubicBezTo>
                    <a:pt x="75" y="112"/>
                    <a:pt x="75" y="112"/>
                    <a:pt x="75" y="112"/>
                  </a:cubicBezTo>
                  <a:cubicBezTo>
                    <a:pt x="68" y="102"/>
                    <a:pt x="56" y="96"/>
                    <a:pt x="42" y="96"/>
                  </a:cubicBezTo>
                  <a:cubicBezTo>
                    <a:pt x="19" y="96"/>
                    <a:pt x="0" y="115"/>
                    <a:pt x="0" y="139"/>
                  </a:cubicBezTo>
                  <a:cubicBezTo>
                    <a:pt x="0" y="162"/>
                    <a:pt x="19" y="181"/>
                    <a:pt x="42" y="181"/>
                  </a:cubicBezTo>
                  <a:cubicBezTo>
                    <a:pt x="56" y="181"/>
                    <a:pt x="68" y="175"/>
                    <a:pt x="75" y="165"/>
                  </a:cubicBezTo>
                  <a:cubicBezTo>
                    <a:pt x="214" y="227"/>
                    <a:pt x="214" y="227"/>
                    <a:pt x="214" y="227"/>
                  </a:cubicBezTo>
                  <a:cubicBezTo>
                    <a:pt x="213" y="230"/>
                    <a:pt x="213" y="232"/>
                    <a:pt x="213" y="235"/>
                  </a:cubicBezTo>
                  <a:cubicBezTo>
                    <a:pt x="213" y="258"/>
                    <a:pt x="232" y="277"/>
                    <a:pt x="256" y="277"/>
                  </a:cubicBezTo>
                  <a:cubicBezTo>
                    <a:pt x="279" y="277"/>
                    <a:pt x="298" y="258"/>
                    <a:pt x="298" y="235"/>
                  </a:cubicBezTo>
                  <a:cubicBezTo>
                    <a:pt x="298" y="211"/>
                    <a:pt x="279" y="192"/>
                    <a:pt x="256" y="192"/>
                  </a:cubicBezTo>
                  <a:close/>
                  <a:moveTo>
                    <a:pt x="256" y="21"/>
                  </a:moveTo>
                  <a:cubicBezTo>
                    <a:pt x="267" y="21"/>
                    <a:pt x="277" y="31"/>
                    <a:pt x="277" y="43"/>
                  </a:cubicBezTo>
                  <a:cubicBezTo>
                    <a:pt x="277" y="54"/>
                    <a:pt x="267" y="64"/>
                    <a:pt x="256" y="64"/>
                  </a:cubicBezTo>
                  <a:cubicBezTo>
                    <a:pt x="244" y="64"/>
                    <a:pt x="234" y="54"/>
                    <a:pt x="234" y="43"/>
                  </a:cubicBezTo>
                  <a:cubicBezTo>
                    <a:pt x="234" y="31"/>
                    <a:pt x="244" y="21"/>
                    <a:pt x="256" y="21"/>
                  </a:cubicBezTo>
                  <a:close/>
                  <a:moveTo>
                    <a:pt x="42" y="160"/>
                  </a:moveTo>
                  <a:cubicBezTo>
                    <a:pt x="31" y="160"/>
                    <a:pt x="21" y="150"/>
                    <a:pt x="21" y="139"/>
                  </a:cubicBezTo>
                  <a:cubicBezTo>
                    <a:pt x="21" y="127"/>
                    <a:pt x="31" y="117"/>
                    <a:pt x="42" y="117"/>
                  </a:cubicBezTo>
                  <a:cubicBezTo>
                    <a:pt x="54" y="117"/>
                    <a:pt x="64" y="127"/>
                    <a:pt x="64" y="139"/>
                  </a:cubicBezTo>
                  <a:cubicBezTo>
                    <a:pt x="64" y="150"/>
                    <a:pt x="54" y="160"/>
                    <a:pt x="42" y="160"/>
                  </a:cubicBezTo>
                  <a:close/>
                  <a:moveTo>
                    <a:pt x="256" y="256"/>
                  </a:moveTo>
                  <a:cubicBezTo>
                    <a:pt x="244" y="256"/>
                    <a:pt x="234" y="246"/>
                    <a:pt x="234" y="235"/>
                  </a:cubicBezTo>
                  <a:cubicBezTo>
                    <a:pt x="234" y="223"/>
                    <a:pt x="244" y="213"/>
                    <a:pt x="256" y="213"/>
                  </a:cubicBezTo>
                  <a:cubicBezTo>
                    <a:pt x="267" y="213"/>
                    <a:pt x="277" y="223"/>
                    <a:pt x="277" y="235"/>
                  </a:cubicBezTo>
                  <a:cubicBezTo>
                    <a:pt x="277" y="246"/>
                    <a:pt x="267" y="256"/>
                    <a:pt x="256" y="2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:mc="http://schemas.openxmlformats.org/markup-compatibility/2006" xmlns:p14="http://schemas.microsoft.com/office/powerpoint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96"/>
            </a:p>
          </p:txBody>
        </p:sp>
      </p:grpSp>
    </p:spTree>
    <p:extLst>
      <p:ext uri="{BB962C8B-B14F-4D97-AF65-F5344CB8AC3E}">
        <p14:creationId xmlns:p14="http://schemas.microsoft.com/office/powerpoint/2010/main" val="22543798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5FD3C8-9491-4823-8333-44B69CC483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nb-NO"/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94C2FC-6200-440B-85E5-FF627608D03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52488" y="3602725"/>
            <a:ext cx="6435960" cy="1628238"/>
          </a:xfrm>
        </p:spPr>
        <p:txBody>
          <a:bodyPr>
            <a:normAutofit/>
          </a:bodyPr>
          <a:lstStyle/>
          <a:p>
            <a:pPr lvl="1"/>
            <a:endParaRPr lang="nb-NO"/>
          </a:p>
          <a:p>
            <a:endParaRPr lang="nb-NO"/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9CEC64A9-177F-4F35-BFC9-924D072343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56345607"/>
              </p:ext>
            </p:extLst>
          </p:nvPr>
        </p:nvGraphicFramePr>
        <p:xfrm>
          <a:off x="409650" y="994346"/>
          <a:ext cx="6181967" cy="375399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181967">
                  <a:extLst>
                    <a:ext uri="{9D8B030D-6E8A-4147-A177-3AD203B41FA5}">
                      <a16:colId xmlns:a16="http://schemas.microsoft.com/office/drawing/2014/main" val="3031343381"/>
                    </a:ext>
                  </a:extLst>
                </a:gridCol>
              </a:tblGrid>
              <a:tr h="318298">
                <a:tc>
                  <a:txBody>
                    <a:bodyPr/>
                    <a:lstStyle/>
                    <a:p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Velkommen </a:t>
                      </a:r>
                    </a:p>
                    <a:p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nb-NO" sz="1600" i="1">
                          <a:solidFill>
                            <a:schemeClr val="tx1"/>
                          </a:solidFill>
                        </a:rPr>
                        <a:t>- Mål for møtet </a:t>
                      </a:r>
                    </a:p>
                    <a:p>
                      <a:r>
                        <a:rPr lang="nb-NO" sz="1600" i="1">
                          <a:solidFill>
                            <a:schemeClr val="tx1"/>
                          </a:solidFill>
                        </a:rPr>
                        <a:t> - Hvorfor BOTT ØL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7356267"/>
                  </a:ext>
                </a:extLst>
              </a:tr>
              <a:tr h="489216">
                <a:tc>
                  <a:txBody>
                    <a:bodyPr/>
                    <a:lstStyle/>
                    <a:p>
                      <a:r>
                        <a:rPr lang="nb-NO" sz="1600"/>
                        <a:t>Introduksjon til </a:t>
                      </a:r>
                      <a:r>
                        <a:rPr lang="nb-NO" sz="1600" err="1"/>
                        <a:t>btb</a:t>
                      </a:r>
                      <a:r>
                        <a:rPr lang="nb-NO" sz="1600"/>
                        <a:t>-prosessen 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nb-NO" sz="1600" i="1" err="1"/>
                        <a:t>Hovedflyt</a:t>
                      </a:r>
                      <a:r>
                        <a:rPr lang="nb-NO" sz="1600" i="1"/>
                        <a:t> i prosessen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nb-NO" sz="1600" i="1"/>
                        <a:t>Roller 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nb-NO" sz="1600" i="1" err="1"/>
                        <a:t>Hovedendringer</a:t>
                      </a:r>
                      <a:r>
                        <a:rPr lang="nb-NO" sz="1600" i="1"/>
                        <a:t> fra slik mange kjenner prosessen i dag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00165729"/>
                  </a:ext>
                </a:extLst>
              </a:tr>
              <a:tr h="489216">
                <a:tc>
                  <a:txBody>
                    <a:bodyPr/>
                    <a:lstStyle/>
                    <a:p>
                      <a:r>
                        <a:rPr lang="nb-NO" sz="1600">
                          <a:solidFill>
                            <a:schemeClr val="bg1"/>
                          </a:solidFill>
                        </a:rPr>
                        <a:t>Informasjon om opplæring </a:t>
                      </a:r>
                    </a:p>
                    <a:p>
                      <a:r>
                        <a:rPr lang="nb-NO" sz="1600" i="1">
                          <a:solidFill>
                            <a:schemeClr val="bg1"/>
                          </a:solidFill>
                        </a:rPr>
                        <a:t> - Struktur for opplæringsløp</a:t>
                      </a:r>
                    </a:p>
                    <a:p>
                      <a:r>
                        <a:rPr lang="nb-NO" sz="1600" i="1">
                          <a:solidFill>
                            <a:schemeClr val="bg1"/>
                          </a:solidFill>
                        </a:rPr>
                        <a:t> - Praktisk info om opplæring</a:t>
                      </a:r>
                    </a:p>
                    <a:p>
                      <a:r>
                        <a:rPr lang="nb-NO" sz="1600" i="1">
                          <a:solidFill>
                            <a:schemeClr val="bg1"/>
                          </a:solidFill>
                        </a:rPr>
                        <a:t> - Opplæring for roller i </a:t>
                      </a:r>
                      <a:r>
                        <a:rPr lang="nb-NO" sz="1600" i="1" err="1">
                          <a:solidFill>
                            <a:schemeClr val="bg1"/>
                          </a:solidFill>
                        </a:rPr>
                        <a:t>BtB</a:t>
                      </a:r>
                      <a:r>
                        <a:rPr lang="nb-NO" sz="1600" i="1">
                          <a:solidFill>
                            <a:schemeClr val="bg1"/>
                          </a:solidFill>
                        </a:rPr>
                        <a:t>-prosessen</a:t>
                      </a:r>
                    </a:p>
                  </a:txBody>
                  <a:tcPr>
                    <a:solidFill>
                      <a:srgbClr val="0D34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9177042"/>
                  </a:ext>
                </a:extLst>
              </a:tr>
              <a:tr h="398719">
                <a:tc>
                  <a:txBody>
                    <a:bodyPr/>
                    <a:lstStyle/>
                    <a:p>
                      <a:r>
                        <a:rPr lang="nb-NO" sz="1600"/>
                        <a:t>Hvor kan du finne mer informasjon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59807107"/>
                  </a:ext>
                </a:extLst>
              </a:tr>
              <a:tr h="398719">
                <a:tc>
                  <a:txBody>
                    <a:bodyPr/>
                    <a:lstStyle/>
                    <a:p>
                      <a:r>
                        <a:rPr lang="nb-NO" sz="1600"/>
                        <a:t>Spørsmål og svar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4224163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4166302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6A165952-38CD-4D86-8DEC-D7905CA9C2B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88532395"/>
              </p:ext>
            </p:extLst>
          </p:nvPr>
        </p:nvGraphicFramePr>
        <p:xfrm>
          <a:off x="1466850" y="539750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8" name="Graphic 7" descr="Group brainstorm outline">
            <a:extLst>
              <a:ext uri="{FF2B5EF4-FFF2-40B4-BE49-F238E27FC236}">
                <a16:creationId xmlns:a16="http://schemas.microsoft.com/office/drawing/2014/main" id="{3DA5C5A7-04F2-D008-FFE1-E2EF873EA9E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156893" y="2368325"/>
            <a:ext cx="698725" cy="698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106736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FAD35FE8-414E-2A9E-06EE-38126FF73D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3699" y="46755"/>
            <a:ext cx="8229600" cy="646331"/>
          </a:xfrm>
        </p:spPr>
        <p:txBody>
          <a:bodyPr anchor="t">
            <a:normAutofit/>
          </a:bodyPr>
          <a:lstStyle/>
          <a:p>
            <a:r>
              <a:rPr lang="nb-NO" sz="2800" b="0">
                <a:hlinkClick r:id="rId3"/>
              </a:rPr>
              <a:t>BOTT ØL - Opplæringsside</a:t>
            </a:r>
            <a:endParaRPr lang="nb-NO" sz="2800" b="0"/>
          </a:p>
        </p:txBody>
      </p:sp>
      <p:pic>
        <p:nvPicPr>
          <p:cNvPr id="5" name="Picture Placeholder 5" descr="Bott økonomi og lønn - Opplæring - Kunnskapsbasen - NTNU">
            <a:extLst>
              <a:ext uri="{FF2B5EF4-FFF2-40B4-BE49-F238E27FC236}">
                <a16:creationId xmlns:a16="http://schemas.microsoft.com/office/drawing/2014/main" id="{D149C881-023E-369F-8A6C-49B97A7483B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79427" y="693086"/>
            <a:ext cx="3152633" cy="4274758"/>
          </a:xfrm>
          <a:prstGeom prst="rect">
            <a:avLst/>
          </a:prstGeom>
          <a:noFill/>
        </p:spPr>
      </p:pic>
      <p:sp>
        <p:nvSpPr>
          <p:cNvPr id="7" name="Oval 6">
            <a:extLst>
              <a:ext uri="{FF2B5EF4-FFF2-40B4-BE49-F238E27FC236}">
                <a16:creationId xmlns:a16="http://schemas.microsoft.com/office/drawing/2014/main" id="{47CF52F8-251B-CB9F-CA30-D7241F41E5B1}"/>
              </a:ext>
            </a:extLst>
          </p:cNvPr>
          <p:cNvSpPr/>
          <p:nvPr/>
        </p:nvSpPr>
        <p:spPr>
          <a:xfrm>
            <a:off x="2429303" y="4509554"/>
            <a:ext cx="1082722" cy="349049"/>
          </a:xfrm>
          <a:prstGeom prst="ellipse">
            <a:avLst/>
          </a:prstGeom>
          <a:noFill/>
          <a:ln>
            <a:solidFill>
              <a:srgbClr val="FF0000"/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0467761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C7EFB2E8-7B29-9CE5-DBB5-931AA31917F3}"/>
              </a:ext>
            </a:extLst>
          </p:cNvPr>
          <p:cNvSpPr txBox="1"/>
          <p:nvPr/>
        </p:nvSpPr>
        <p:spPr>
          <a:xfrm>
            <a:off x="207034" y="102431"/>
            <a:ext cx="457129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 sz="2000">
                <a:solidFill>
                  <a:schemeClr val="accent2">
                    <a:lumMod val="50000"/>
                  </a:schemeClr>
                </a:solidFill>
              </a:rPr>
              <a:t>Opplæringsløp for Innkjøper</a:t>
            </a:r>
            <a:endParaRPr lang="nb-NO" sz="2000"/>
          </a:p>
        </p:txBody>
      </p:sp>
      <p:sp>
        <p:nvSpPr>
          <p:cNvPr id="3" name="Arrow: Right 2">
            <a:extLst>
              <a:ext uri="{FF2B5EF4-FFF2-40B4-BE49-F238E27FC236}">
                <a16:creationId xmlns:a16="http://schemas.microsoft.com/office/drawing/2014/main" id="{8D6EB9D5-E603-278B-77B8-1B1544D4F4BE}"/>
              </a:ext>
            </a:extLst>
          </p:cNvPr>
          <p:cNvSpPr/>
          <p:nvPr/>
        </p:nvSpPr>
        <p:spPr>
          <a:xfrm>
            <a:off x="513347" y="4005314"/>
            <a:ext cx="8478253" cy="991802"/>
          </a:xfrm>
          <a:prstGeom prst="rightArrow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350"/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E3FB0B55-EE0D-0644-6C51-808A42448D0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847138141"/>
              </p:ext>
            </p:extLst>
          </p:nvPr>
        </p:nvGraphicFramePr>
        <p:xfrm>
          <a:off x="513347" y="734250"/>
          <a:ext cx="8630653" cy="366851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56F2B9CD-CF68-3CB3-61E1-AB48A6BEB969}"/>
              </a:ext>
            </a:extLst>
          </p:cNvPr>
          <p:cNvSpPr txBox="1"/>
          <p:nvPr/>
        </p:nvSpPr>
        <p:spPr>
          <a:xfrm>
            <a:off x="659561" y="4385799"/>
            <a:ext cx="67835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>
                <a:solidFill>
                  <a:schemeClr val="tx2">
                    <a:lumMod val="75000"/>
                  </a:schemeClr>
                </a:solidFill>
              </a:rPr>
              <a:t>20.09.2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9E60D34-29F7-D350-3413-63CB2F8A27D2}"/>
              </a:ext>
            </a:extLst>
          </p:cNvPr>
          <p:cNvSpPr txBox="1"/>
          <p:nvPr/>
        </p:nvSpPr>
        <p:spPr>
          <a:xfrm>
            <a:off x="6865081" y="4402764"/>
            <a:ext cx="94100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900">
                <a:solidFill>
                  <a:schemeClr val="tx2">
                    <a:lumMod val="75000"/>
                  </a:schemeClr>
                </a:solidFill>
              </a:rPr>
              <a:t>1.1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28BF459-2339-A1AD-3B24-52885684970C}"/>
              </a:ext>
            </a:extLst>
          </p:cNvPr>
          <p:cNvSpPr txBox="1"/>
          <p:nvPr/>
        </p:nvSpPr>
        <p:spPr>
          <a:xfrm>
            <a:off x="2828604" y="4385799"/>
            <a:ext cx="67835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>
                <a:solidFill>
                  <a:schemeClr val="tx2">
                    <a:lumMod val="75000"/>
                  </a:schemeClr>
                </a:solidFill>
              </a:rPr>
              <a:t>05.12.22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1A97F54-1CFF-7FFB-12DA-7C89AC4DD432}"/>
              </a:ext>
            </a:extLst>
          </p:cNvPr>
          <p:cNvSpPr txBox="1"/>
          <p:nvPr/>
        </p:nvSpPr>
        <p:spPr>
          <a:xfrm>
            <a:off x="3659361" y="4385799"/>
            <a:ext cx="118551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900">
                <a:solidFill>
                  <a:schemeClr val="tx2">
                    <a:lumMod val="75000"/>
                  </a:schemeClr>
                </a:solidFill>
              </a:rPr>
              <a:t>12./13. eller 14.12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D2EEABD-38C6-DAD1-EC0A-4D96023C8BF8}"/>
              </a:ext>
            </a:extLst>
          </p:cNvPr>
          <p:cNvSpPr txBox="1"/>
          <p:nvPr/>
        </p:nvSpPr>
        <p:spPr>
          <a:xfrm>
            <a:off x="6305695" y="4402764"/>
            <a:ext cx="67835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900">
                <a:solidFill>
                  <a:schemeClr val="tx2">
                    <a:lumMod val="75000"/>
                  </a:schemeClr>
                </a:solidFill>
              </a:rPr>
              <a:t>19.12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3094690-36E9-25D3-2AA9-CC6321AE28D4}"/>
              </a:ext>
            </a:extLst>
          </p:cNvPr>
          <p:cNvSpPr txBox="1"/>
          <p:nvPr/>
        </p:nvSpPr>
        <p:spPr>
          <a:xfrm>
            <a:off x="7958482" y="4402764"/>
            <a:ext cx="118551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900">
                <a:solidFill>
                  <a:schemeClr val="tx2">
                    <a:lumMod val="75000"/>
                  </a:schemeClr>
                </a:solidFill>
              </a:rPr>
              <a:t>10./11. eller 12.01</a:t>
            </a:r>
          </a:p>
        </p:txBody>
      </p:sp>
    </p:spTree>
    <p:extLst>
      <p:ext uri="{BB962C8B-B14F-4D97-AF65-F5344CB8AC3E}">
        <p14:creationId xmlns:p14="http://schemas.microsoft.com/office/powerpoint/2010/main" val="21965515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C7EFB2E8-7B29-9CE5-DBB5-931AA31917F3}"/>
              </a:ext>
            </a:extLst>
          </p:cNvPr>
          <p:cNvSpPr txBox="1"/>
          <p:nvPr/>
        </p:nvSpPr>
        <p:spPr>
          <a:xfrm>
            <a:off x="207034" y="102431"/>
            <a:ext cx="457129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 sz="2000">
                <a:solidFill>
                  <a:schemeClr val="accent2">
                    <a:lumMod val="50000"/>
                  </a:schemeClr>
                </a:solidFill>
              </a:rPr>
              <a:t>Opplæringsløp for Fagrekvirent</a:t>
            </a:r>
            <a:endParaRPr lang="nb-NO" sz="2000"/>
          </a:p>
        </p:txBody>
      </p:sp>
      <p:graphicFrame>
        <p:nvGraphicFramePr>
          <p:cNvPr id="3" name="Content Placeholder 3">
            <a:extLst>
              <a:ext uri="{FF2B5EF4-FFF2-40B4-BE49-F238E27FC236}">
                <a16:creationId xmlns:a16="http://schemas.microsoft.com/office/drawing/2014/main" id="{07829BB3-94E6-2B8A-B60A-3DF60D0EB36B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653271459"/>
              </p:ext>
            </p:extLst>
          </p:nvPr>
        </p:nvGraphicFramePr>
        <p:xfrm>
          <a:off x="513347" y="734250"/>
          <a:ext cx="8726906" cy="366851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Arrow: Right 3">
            <a:extLst>
              <a:ext uri="{FF2B5EF4-FFF2-40B4-BE49-F238E27FC236}">
                <a16:creationId xmlns:a16="http://schemas.microsoft.com/office/drawing/2014/main" id="{D68219E8-F1D2-62DC-A78C-93723344A352}"/>
              </a:ext>
            </a:extLst>
          </p:cNvPr>
          <p:cNvSpPr/>
          <p:nvPr/>
        </p:nvSpPr>
        <p:spPr>
          <a:xfrm>
            <a:off x="513347" y="3909062"/>
            <a:ext cx="8478253" cy="991802"/>
          </a:xfrm>
          <a:prstGeom prst="rightArrow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35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24C01F6-E3C1-1422-0B17-B4CB64C73681}"/>
              </a:ext>
            </a:extLst>
          </p:cNvPr>
          <p:cNvSpPr txBox="1"/>
          <p:nvPr/>
        </p:nvSpPr>
        <p:spPr>
          <a:xfrm>
            <a:off x="659561" y="4287851"/>
            <a:ext cx="67835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>
                <a:solidFill>
                  <a:schemeClr val="tx2">
                    <a:lumMod val="75000"/>
                  </a:schemeClr>
                </a:solidFill>
              </a:rPr>
              <a:t>20.09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4F14319-2490-69A7-0557-98A22DC208F1}"/>
              </a:ext>
            </a:extLst>
          </p:cNvPr>
          <p:cNvSpPr txBox="1"/>
          <p:nvPr/>
        </p:nvSpPr>
        <p:spPr>
          <a:xfrm>
            <a:off x="2850497" y="4287851"/>
            <a:ext cx="67835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>
                <a:solidFill>
                  <a:schemeClr val="tx2">
                    <a:lumMod val="75000"/>
                  </a:schemeClr>
                </a:solidFill>
              </a:rPr>
              <a:t>21.11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CF6C2F4-FA48-8AA1-8663-7EEBCB8A0E27}"/>
              </a:ext>
            </a:extLst>
          </p:cNvPr>
          <p:cNvSpPr txBox="1"/>
          <p:nvPr/>
        </p:nvSpPr>
        <p:spPr>
          <a:xfrm>
            <a:off x="3547718" y="4287851"/>
            <a:ext cx="104314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900">
                <a:solidFill>
                  <a:schemeClr val="tx2">
                    <a:lumMod val="75000"/>
                  </a:schemeClr>
                </a:solidFill>
              </a:rPr>
              <a:t>01. eller 02.12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F5C64EF-5CC2-3221-0E4B-D47119A75FAD}"/>
              </a:ext>
            </a:extLst>
          </p:cNvPr>
          <p:cNvSpPr txBox="1"/>
          <p:nvPr/>
        </p:nvSpPr>
        <p:spPr>
          <a:xfrm>
            <a:off x="6122305" y="4287851"/>
            <a:ext cx="67835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900">
                <a:solidFill>
                  <a:schemeClr val="tx2">
                    <a:lumMod val="75000"/>
                  </a:schemeClr>
                </a:solidFill>
              </a:rPr>
              <a:t>15.12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440D7C3-37A2-1A5E-E82C-4A6A17C56673}"/>
              </a:ext>
            </a:extLst>
          </p:cNvPr>
          <p:cNvSpPr txBox="1"/>
          <p:nvPr/>
        </p:nvSpPr>
        <p:spPr>
          <a:xfrm>
            <a:off x="8313241" y="4287851"/>
            <a:ext cx="67835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900">
                <a:solidFill>
                  <a:schemeClr val="tx2">
                    <a:lumMod val="75000"/>
                  </a:schemeClr>
                </a:solidFill>
              </a:rPr>
              <a:t>09.01</a:t>
            </a:r>
          </a:p>
        </p:txBody>
      </p:sp>
    </p:spTree>
    <p:extLst>
      <p:ext uri="{BB962C8B-B14F-4D97-AF65-F5344CB8AC3E}">
        <p14:creationId xmlns:p14="http://schemas.microsoft.com/office/powerpoint/2010/main" val="14371996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7DBF71E-D659-4F0B-86F3-C11FE961E1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7DBF71E-D659-4F0B-86F3-C11FE961E1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EDC01C2-5FC1-4942-AAAD-071CC20A94C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19063" cy="119063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36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DBD5E1B-33C2-438B-ADF1-B1B19A71D65F}"/>
              </a:ext>
            </a:extLst>
          </p:cNvPr>
          <p:cNvGrpSpPr/>
          <p:nvPr/>
        </p:nvGrpSpPr>
        <p:grpSpPr>
          <a:xfrm>
            <a:off x="363335" y="1441351"/>
            <a:ext cx="2685528" cy="1804498"/>
            <a:chOff x="317191" y="1620719"/>
            <a:chExt cx="3580704" cy="2405997"/>
          </a:xfrm>
        </p:grpSpPr>
        <p:pic>
          <p:nvPicPr>
            <p:cNvPr id="7" name="Graphic 6" descr="Information">
              <a:extLst>
                <a:ext uri="{FF2B5EF4-FFF2-40B4-BE49-F238E27FC236}">
                  <a16:creationId xmlns:a16="http://schemas.microsoft.com/office/drawing/2014/main" id="{C05648B7-7E93-4424-ADCA-A2A638BE145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221577" y="1620719"/>
              <a:ext cx="1791442" cy="1791441"/>
            </a:xfrm>
            <a:prstGeom prst="rect">
              <a:avLst/>
            </a:prstGeom>
          </p:spPr>
        </p:pic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564D2262-1BF8-41B7-A62B-C3953D60E089}"/>
                </a:ext>
              </a:extLst>
            </p:cNvPr>
            <p:cNvSpPr/>
            <p:nvPr/>
          </p:nvSpPr>
          <p:spPr>
            <a:xfrm>
              <a:off x="317191" y="3380386"/>
              <a:ext cx="3580704" cy="646330"/>
            </a:xfrm>
            <a:prstGeom prst="rect">
              <a:avLst/>
            </a:prstGeom>
          </p:spPr>
          <p:txBody>
            <a:bodyPr wrap="square" lIns="68580" tIns="34290" rIns="68580" bIns="34290" anchor="t">
              <a:spAutoFit/>
            </a:bodyPr>
            <a:lstStyle/>
            <a:p>
              <a:pPr algn="ctr"/>
              <a:r>
                <a:rPr lang="nb-NO" sz="1350"/>
                <a:t>Vi skal dele mye informasjon med dere i dag. 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D7D8ED19-9960-4B74-B005-A4B46ABE50F3}"/>
              </a:ext>
            </a:extLst>
          </p:cNvPr>
          <p:cNvGrpSpPr/>
          <p:nvPr/>
        </p:nvGrpSpPr>
        <p:grpSpPr>
          <a:xfrm>
            <a:off x="6179702" y="1441351"/>
            <a:ext cx="2685528" cy="1596749"/>
            <a:chOff x="8406858" y="1620719"/>
            <a:chExt cx="3580704" cy="2128998"/>
          </a:xfrm>
        </p:grpSpPr>
        <p:pic>
          <p:nvPicPr>
            <p:cNvPr id="9" name="Graphic 8" descr="Web cam">
              <a:extLst>
                <a:ext uri="{FF2B5EF4-FFF2-40B4-BE49-F238E27FC236}">
                  <a16:creationId xmlns:a16="http://schemas.microsoft.com/office/drawing/2014/main" id="{917E1E28-4D47-441C-BF02-80995E9F34E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9295479" y="1620719"/>
              <a:ext cx="1791442" cy="1791441"/>
            </a:xfrm>
            <a:prstGeom prst="rect">
              <a:avLst/>
            </a:prstGeom>
          </p:spPr>
        </p:pic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3C8B9C46-76B4-4278-89A2-5D0051F2489D}"/>
                </a:ext>
              </a:extLst>
            </p:cNvPr>
            <p:cNvSpPr/>
            <p:nvPr/>
          </p:nvSpPr>
          <p:spPr>
            <a:xfrm>
              <a:off x="8406858" y="3380385"/>
              <a:ext cx="3580704" cy="369332"/>
            </a:xfrm>
            <a:prstGeom prst="rect">
              <a:avLst/>
            </a:prstGeom>
          </p:spPr>
          <p:txBody>
            <a:bodyPr wrap="square" lIns="68580" tIns="34290" rIns="68580" bIns="34290" anchor="t">
              <a:spAutoFit/>
            </a:bodyPr>
            <a:lstStyle/>
            <a:p>
              <a:pPr algn="ctr"/>
              <a:r>
                <a:rPr lang="nb-NO" sz="1350"/>
                <a:t>Vi vil gjøre opptak  av møtet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F2BFAB41-6732-4893-AFB9-3D7DC5223560}"/>
              </a:ext>
            </a:extLst>
          </p:cNvPr>
          <p:cNvGrpSpPr/>
          <p:nvPr/>
        </p:nvGrpSpPr>
        <p:grpSpPr>
          <a:xfrm>
            <a:off x="3271519" y="1441351"/>
            <a:ext cx="2685528" cy="1827580"/>
            <a:chOff x="4362024" y="1620719"/>
            <a:chExt cx="3580704" cy="2436774"/>
          </a:xfrm>
        </p:grpSpPr>
        <p:pic>
          <p:nvPicPr>
            <p:cNvPr id="11" name="Graphic 10" descr="Radio microphone">
              <a:extLst>
                <a:ext uri="{FF2B5EF4-FFF2-40B4-BE49-F238E27FC236}">
                  <a16:creationId xmlns:a16="http://schemas.microsoft.com/office/drawing/2014/main" id="{72B72DDA-A44F-47A9-A947-702CD79ACD51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5256655" y="1620719"/>
              <a:ext cx="1791442" cy="1791441"/>
            </a:xfrm>
            <a:prstGeom prst="rect">
              <a:avLst/>
            </a:prstGeom>
          </p:spPr>
        </p:pic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7D2C2CD8-3CCB-46AC-8E7D-8FE36AD32298}"/>
                </a:ext>
              </a:extLst>
            </p:cNvPr>
            <p:cNvSpPr/>
            <p:nvPr/>
          </p:nvSpPr>
          <p:spPr>
            <a:xfrm>
              <a:off x="4362024" y="3380385"/>
              <a:ext cx="3580704" cy="67710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nb-NO" sz="1350"/>
                <a:t>Vi er mange deltagere – husk å dempe mikrofonen. </a:t>
              </a:r>
            </a:p>
          </p:txBody>
        </p: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4749654-D5E7-4FB6-B9BF-F35DC6D47528}"/>
                </a:ext>
              </a:extLst>
            </p:cNvPr>
            <p:cNvCxnSpPr/>
            <p:nvPr/>
          </p:nvCxnSpPr>
          <p:spPr>
            <a:xfrm flipV="1">
              <a:off x="5533251" y="1881427"/>
              <a:ext cx="1238250" cy="1238250"/>
            </a:xfrm>
            <a:prstGeom prst="line">
              <a:avLst/>
            </a:prstGeom>
            <a:ln w="28575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5C6BD5F5-1ABF-4FD6-B1DD-61505B400A76}"/>
              </a:ext>
            </a:extLst>
          </p:cNvPr>
          <p:cNvSpPr txBox="1"/>
          <p:nvPr/>
        </p:nvSpPr>
        <p:spPr>
          <a:xfrm>
            <a:off x="363335" y="969257"/>
            <a:ext cx="2903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/>
              <a:t>Kort før vi begynner:</a:t>
            </a:r>
          </a:p>
        </p:txBody>
      </p:sp>
    </p:spTree>
    <p:extLst>
      <p:ext uri="{BB962C8B-B14F-4D97-AF65-F5344CB8AC3E}">
        <p14:creationId xmlns:p14="http://schemas.microsoft.com/office/powerpoint/2010/main" val="257298926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A3414EF-1B14-DA8B-9A08-10F1C3B0B87C}"/>
              </a:ext>
            </a:extLst>
          </p:cNvPr>
          <p:cNvSpPr/>
          <p:nvPr/>
        </p:nvSpPr>
        <p:spPr>
          <a:xfrm>
            <a:off x="5117123" y="568569"/>
            <a:ext cx="3083959" cy="442931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200" b="1"/>
              <a:t>Kurs for roller i </a:t>
            </a:r>
            <a:r>
              <a:rPr lang="nb-NO" sz="1200" b="1" err="1"/>
              <a:t>Btb</a:t>
            </a:r>
            <a:r>
              <a:rPr lang="nb-NO" sz="1200" b="1"/>
              <a:t>-prosessen</a:t>
            </a:r>
          </a:p>
          <a:p>
            <a:pPr algn="ctr"/>
            <a:endParaRPr lang="nb-NO" sz="1050"/>
          </a:p>
          <a:p>
            <a:pPr algn="ctr"/>
            <a:r>
              <a:rPr lang="nb-NO" sz="1200" baseline="30000"/>
              <a:t>*)</a:t>
            </a:r>
            <a:r>
              <a:rPr lang="nb-NO" sz="1200" b="1"/>
              <a:t>Egenlæring</a:t>
            </a:r>
            <a:endParaRPr lang="nb-NO" sz="1050" b="1"/>
          </a:p>
          <a:p>
            <a:pPr marL="214313" indent="-214313" algn="ctr">
              <a:buFont typeface="Arial" panose="020B0604020202020204" pitchFamily="34" charset="0"/>
              <a:buChar char="•"/>
            </a:pPr>
            <a:r>
              <a:rPr lang="nb-NO" sz="1050"/>
              <a:t>BOTT e-læring for rolle og prosess</a:t>
            </a:r>
          </a:p>
          <a:p>
            <a:pPr marL="214313" indent="-214313" algn="ctr">
              <a:buFont typeface="Arial" panose="020B0604020202020204" pitchFamily="34" charset="0"/>
              <a:buChar char="•"/>
            </a:pPr>
            <a:r>
              <a:rPr lang="nb-NO" sz="1050"/>
              <a:t>NTNU videokurs Økonomimodell</a:t>
            </a:r>
          </a:p>
          <a:p>
            <a:pPr algn="ctr"/>
            <a:endParaRPr lang="nb-NO" sz="1050"/>
          </a:p>
          <a:p>
            <a:pPr algn="ctr"/>
            <a:r>
              <a:rPr lang="nb-NO" sz="1200" baseline="30000"/>
              <a:t>**)</a:t>
            </a:r>
            <a:r>
              <a:rPr lang="nb-NO" sz="1200" b="1"/>
              <a:t>NTNU kurs for </a:t>
            </a:r>
            <a:r>
              <a:rPr lang="nb-NO" sz="1200" b="1" err="1"/>
              <a:t>Btb</a:t>
            </a:r>
            <a:r>
              <a:rPr lang="nb-NO" sz="1200" b="1"/>
              <a:t>-prosessen:</a:t>
            </a:r>
          </a:p>
          <a:p>
            <a:pPr algn="ctr"/>
            <a:r>
              <a:rPr lang="nb-NO" sz="1050"/>
              <a:t>1: Introduksjon til opplæring</a:t>
            </a:r>
          </a:p>
          <a:p>
            <a:pPr algn="ctr"/>
            <a:r>
              <a:rPr lang="nb-NO" sz="1050"/>
              <a:t>2: Oppsummering, refleksjon, spørsmål fra egenlæring</a:t>
            </a:r>
          </a:p>
          <a:p>
            <a:pPr algn="ctr"/>
            <a:r>
              <a:rPr lang="nb-NO" sz="1050"/>
              <a:t>- Økonomimodell for rolle</a:t>
            </a:r>
          </a:p>
          <a:p>
            <a:pPr marL="214313" indent="-214313" algn="ctr">
              <a:buFontTx/>
              <a:buChar char="-"/>
            </a:pPr>
            <a:r>
              <a:rPr lang="nb-NO" sz="1050"/>
              <a:t>Nye roller, rutiner og prosesser </a:t>
            </a:r>
          </a:p>
          <a:p>
            <a:pPr algn="ctr"/>
            <a:r>
              <a:rPr lang="nb-NO" sz="1050"/>
              <a:t>3: Oppsummering, refleksjon, spørsmål etter systemopplæring</a:t>
            </a:r>
          </a:p>
        </p:txBody>
      </p:sp>
      <p:graphicFrame>
        <p:nvGraphicFramePr>
          <p:cNvPr id="10" name="Content Placeholder 3">
            <a:extLst>
              <a:ext uri="{FF2B5EF4-FFF2-40B4-BE49-F238E27FC236}">
                <a16:creationId xmlns:a16="http://schemas.microsoft.com/office/drawing/2014/main" id="{8775A646-9F22-D53C-FE0E-404176220CC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5176906"/>
              </p:ext>
            </p:extLst>
          </p:nvPr>
        </p:nvGraphicFramePr>
        <p:xfrm>
          <a:off x="116383" y="683510"/>
          <a:ext cx="4830755" cy="410335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C7827B44-EAD5-86A5-96D3-E7F3AAA31942}"/>
              </a:ext>
            </a:extLst>
          </p:cNvPr>
          <p:cNvSpPr txBox="1">
            <a:spLocks/>
          </p:cNvSpPr>
          <p:nvPr/>
        </p:nvSpPr>
        <p:spPr>
          <a:xfrm>
            <a:off x="0" y="55463"/>
            <a:ext cx="8418747" cy="46166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nb-NO" sz="2400" b="0">
                <a:solidFill>
                  <a:schemeClr val="accent2">
                    <a:lumMod val="50000"/>
                  </a:schemeClr>
                </a:solidFill>
              </a:rPr>
              <a:t>Opplæringsløp for roller i </a:t>
            </a:r>
            <a:r>
              <a:rPr lang="nb-NO" sz="2400" b="0" err="1">
                <a:solidFill>
                  <a:schemeClr val="accent2">
                    <a:lumMod val="50000"/>
                  </a:schemeClr>
                </a:solidFill>
              </a:rPr>
              <a:t>Btb</a:t>
            </a:r>
            <a:r>
              <a:rPr lang="nb-NO" sz="2400" b="0">
                <a:solidFill>
                  <a:schemeClr val="accent2">
                    <a:lumMod val="50000"/>
                  </a:schemeClr>
                </a:solidFill>
              </a:rPr>
              <a:t>-prosessen </a:t>
            </a:r>
            <a:r>
              <a:rPr lang="nb-NO" sz="240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3629465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6EF200B6-E4C4-84D0-1693-5D34E6F462F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372746557"/>
              </p:ext>
            </p:extLst>
          </p:nvPr>
        </p:nvGraphicFramePr>
        <p:xfrm>
          <a:off x="327025" y="1016920"/>
          <a:ext cx="7517564" cy="36655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Tittel 1">
            <a:extLst>
              <a:ext uri="{FF2B5EF4-FFF2-40B4-BE49-F238E27FC236}">
                <a16:creationId xmlns:a16="http://schemas.microsoft.com/office/drawing/2014/main" id="{F1283971-F112-537C-BB94-B9A7B281D3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7025" y="206375"/>
            <a:ext cx="8382000" cy="646113"/>
          </a:xfrm>
        </p:spPr>
        <p:txBody>
          <a:bodyPr anchor="t">
            <a:normAutofit/>
          </a:bodyPr>
          <a:lstStyle/>
          <a:p>
            <a:r>
              <a:rPr lang="nb-NO" b="0"/>
              <a:t>Praktisk</a:t>
            </a:r>
            <a:r>
              <a:rPr lang="nb-NO"/>
              <a:t> </a:t>
            </a:r>
            <a:r>
              <a:rPr lang="nb-NO" b="0"/>
              <a:t>informasjon</a:t>
            </a:r>
          </a:p>
        </p:txBody>
      </p:sp>
    </p:spTree>
    <p:extLst>
      <p:ext uri="{BB962C8B-B14F-4D97-AF65-F5344CB8AC3E}">
        <p14:creationId xmlns:p14="http://schemas.microsoft.com/office/powerpoint/2010/main" val="132270739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7BE1A714-A592-DAEC-6575-DA2498F2E7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04299"/>
            <a:ext cx="8229600" cy="461665"/>
          </a:xfrm>
        </p:spPr>
        <p:txBody>
          <a:bodyPr/>
          <a:lstStyle/>
          <a:p>
            <a:r>
              <a:rPr lang="en-US" sz="2400" b="0" err="1">
                <a:solidFill>
                  <a:schemeClr val="accent2">
                    <a:lumMod val="50000"/>
                  </a:schemeClr>
                </a:solidFill>
              </a:rPr>
              <a:t>Egenlæring</a:t>
            </a:r>
            <a:r>
              <a:rPr lang="en-US" sz="2400" b="0">
                <a:solidFill>
                  <a:schemeClr val="accent2">
                    <a:lumMod val="50000"/>
                  </a:schemeClr>
                </a:solidFill>
              </a:rPr>
              <a:t>: BOTT</a:t>
            </a:r>
            <a:r>
              <a:rPr lang="en-US" sz="2400"/>
              <a:t> </a:t>
            </a:r>
            <a:r>
              <a:rPr lang="en-US" sz="2400" b="0">
                <a:solidFill>
                  <a:schemeClr val="accent2">
                    <a:lumMod val="50000"/>
                  </a:schemeClr>
                </a:solidFill>
              </a:rPr>
              <a:t>ØL e-</a:t>
            </a:r>
            <a:r>
              <a:rPr lang="en-US" sz="2400" b="0" err="1">
                <a:solidFill>
                  <a:schemeClr val="accent2">
                    <a:lumMod val="50000"/>
                  </a:schemeClr>
                </a:solidFill>
              </a:rPr>
              <a:t>læring</a:t>
            </a:r>
            <a:r>
              <a:rPr lang="en-US" sz="2400" b="0">
                <a:solidFill>
                  <a:schemeClr val="accent2">
                    <a:lumMod val="50000"/>
                  </a:schemeClr>
                </a:solidFill>
              </a:rPr>
              <a:t> for </a:t>
            </a:r>
            <a:r>
              <a:rPr lang="en-US" sz="2400" b="0" err="1">
                <a:solidFill>
                  <a:schemeClr val="accent2">
                    <a:lumMod val="50000"/>
                  </a:schemeClr>
                </a:solidFill>
              </a:rPr>
              <a:t>rolle</a:t>
            </a:r>
            <a:r>
              <a:rPr lang="en-US" sz="2400" b="0">
                <a:solidFill>
                  <a:schemeClr val="accent2">
                    <a:lumMod val="50000"/>
                  </a:schemeClr>
                </a:solidFill>
              </a:rPr>
              <a:t> og </a:t>
            </a:r>
            <a:r>
              <a:rPr lang="en-US" sz="2400" b="0" err="1">
                <a:solidFill>
                  <a:schemeClr val="accent2">
                    <a:lumMod val="50000"/>
                  </a:schemeClr>
                </a:solidFill>
              </a:rPr>
              <a:t>prosess</a:t>
            </a:r>
            <a:endParaRPr lang="en-US" sz="2400" b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615A3A7-F2E9-12F2-2AFC-FD837461FD23}"/>
              </a:ext>
            </a:extLst>
          </p:cNvPr>
          <p:cNvSpPr txBox="1"/>
          <p:nvPr/>
        </p:nvSpPr>
        <p:spPr>
          <a:xfrm>
            <a:off x="4391310" y="1894506"/>
            <a:ext cx="4173487" cy="281875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</a:pPr>
            <a:r>
              <a:rPr lang="nb-NO" sz="1600">
                <a:latin typeface="Arial"/>
                <a:cs typeface="Arial"/>
              </a:rPr>
              <a:t>Du tar kurset som gjelder din rolle:</a:t>
            </a:r>
          </a:p>
          <a:p>
            <a:pPr>
              <a:lnSpc>
                <a:spcPct val="90000"/>
              </a:lnSpc>
              <a:spcBef>
                <a:spcPct val="20000"/>
              </a:spcBef>
            </a:pPr>
            <a:endParaRPr lang="nb-NO" sz="1600">
              <a:latin typeface="Arial"/>
              <a:cs typeface="Arial"/>
            </a:endParaRPr>
          </a:p>
          <a:p>
            <a:pPr marL="285750" indent="-285750">
              <a:lnSpc>
                <a:spcPct val="90000"/>
              </a:lnSpc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nb-NO" sz="1600">
                <a:latin typeface="Arial"/>
                <a:cs typeface="Arial"/>
              </a:rPr>
              <a:t>Fagrekvirent – estimert tid </a:t>
            </a:r>
            <a:r>
              <a:rPr lang="nb-NO" sz="1600" u="sng">
                <a:latin typeface="Arial"/>
                <a:cs typeface="Arial"/>
              </a:rPr>
              <a:t>2 timer</a:t>
            </a:r>
          </a:p>
          <a:p>
            <a:pPr>
              <a:lnSpc>
                <a:spcPct val="90000"/>
              </a:lnSpc>
              <a:spcBef>
                <a:spcPct val="20000"/>
              </a:spcBef>
            </a:pPr>
            <a:endParaRPr lang="nb-NO" sz="1600">
              <a:latin typeface="Arial"/>
              <a:cs typeface="Arial"/>
            </a:endParaRPr>
          </a:p>
          <a:p>
            <a:pPr marL="285750" indent="-285750">
              <a:lnSpc>
                <a:spcPct val="90000"/>
              </a:lnSpc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nb-NO" sz="1600">
                <a:latin typeface="Arial"/>
                <a:cs typeface="Arial"/>
              </a:rPr>
              <a:t>Innkjøper – estimert </a:t>
            </a:r>
            <a:r>
              <a:rPr lang="nb-NO" sz="1600" u="sng">
                <a:latin typeface="Arial"/>
                <a:cs typeface="Arial"/>
              </a:rPr>
              <a:t>tid 3 timer</a:t>
            </a:r>
          </a:p>
          <a:p>
            <a:pPr>
              <a:lnSpc>
                <a:spcPct val="90000"/>
              </a:lnSpc>
              <a:spcBef>
                <a:spcPct val="20000"/>
              </a:spcBef>
            </a:pPr>
            <a:endParaRPr lang="nb-NO" sz="1600">
              <a:latin typeface="Arial"/>
              <a:cs typeface="Arial"/>
            </a:endParaRPr>
          </a:p>
          <a:p>
            <a:pPr>
              <a:lnSpc>
                <a:spcPct val="90000"/>
              </a:lnSpc>
              <a:spcBef>
                <a:spcPct val="20000"/>
              </a:spcBef>
            </a:pPr>
            <a:endParaRPr lang="nb-NO" sz="1600">
              <a:latin typeface="Arial"/>
              <a:cs typeface="Arial"/>
            </a:endParaRPr>
          </a:p>
          <a:p>
            <a:pPr marL="285750" indent="-285750">
              <a:lnSpc>
                <a:spcPct val="90000"/>
              </a:lnSpc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nb-NO" sz="1600">
                <a:latin typeface="Arial"/>
                <a:cs typeface="Arial"/>
              </a:rPr>
              <a:t>Kan tas så mange ganger du ønsker</a:t>
            </a:r>
          </a:p>
          <a:p>
            <a:pPr marL="285750" indent="-285750">
              <a:lnSpc>
                <a:spcPct val="90000"/>
              </a:lnSpc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nb-NO" sz="1600">
                <a:latin typeface="Arial"/>
                <a:cs typeface="Arial"/>
              </a:rPr>
              <a:t>Modul-oppbygget</a:t>
            </a:r>
          </a:p>
          <a:p>
            <a:pPr marL="285750" indent="-285750">
              <a:lnSpc>
                <a:spcPct val="90000"/>
              </a:lnSpc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nb-NO" sz="1600">
                <a:latin typeface="Arial"/>
                <a:cs typeface="Arial"/>
              </a:rPr>
              <a:t>Quiz etter gjennomføringen</a:t>
            </a:r>
            <a:endParaRPr lang="nb-NO">
              <a:latin typeface="Arial"/>
              <a:cs typeface="Arial"/>
            </a:endParaRPr>
          </a:p>
          <a:p>
            <a:pPr>
              <a:lnSpc>
                <a:spcPct val="90000"/>
              </a:lnSpc>
              <a:spcBef>
                <a:spcPct val="20000"/>
              </a:spcBef>
              <a:buFont typeface="Arial"/>
            </a:pPr>
            <a:endParaRPr lang="nb-NO">
              <a:latin typeface="Arial"/>
              <a:cs typeface="Arial"/>
            </a:endParaRPr>
          </a:p>
        </p:txBody>
      </p:sp>
      <p:pic>
        <p:nvPicPr>
          <p:cNvPr id="4" name="Picture Placeholder 5" descr="3.1 Behov til betaling - BOTT">
            <a:extLst>
              <a:ext uri="{FF2B5EF4-FFF2-40B4-BE49-F238E27FC236}">
                <a16:creationId xmlns:a16="http://schemas.microsoft.com/office/drawing/2014/main" id="{4D7C197F-73C9-556A-5B08-EF74979093AB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409315" y="1028699"/>
            <a:ext cx="3873859" cy="3810501"/>
          </a:xfrm>
          <a:prstGeom prst="rect">
            <a:avLst/>
          </a:prstGeom>
        </p:spPr>
      </p:pic>
      <p:sp>
        <p:nvSpPr>
          <p:cNvPr id="2" name="Oval 1">
            <a:extLst>
              <a:ext uri="{FF2B5EF4-FFF2-40B4-BE49-F238E27FC236}">
                <a16:creationId xmlns:a16="http://schemas.microsoft.com/office/drawing/2014/main" id="{BF80CF0C-FFC1-8636-2119-BD5ABCE0A9BC}"/>
              </a:ext>
            </a:extLst>
          </p:cNvPr>
          <p:cNvSpPr/>
          <p:nvPr/>
        </p:nvSpPr>
        <p:spPr>
          <a:xfrm>
            <a:off x="1161933" y="4198358"/>
            <a:ext cx="2632145" cy="778526"/>
          </a:xfrm>
          <a:prstGeom prst="ellipse">
            <a:avLst/>
          </a:prstGeom>
          <a:noFill/>
          <a:ln>
            <a:solidFill>
              <a:srgbClr val="FF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0219E0A-E2E6-DD43-2193-5A35F0666EFC}"/>
              </a:ext>
            </a:extLst>
          </p:cNvPr>
          <p:cNvSpPr txBox="1"/>
          <p:nvPr/>
        </p:nvSpPr>
        <p:spPr>
          <a:xfrm>
            <a:off x="4391310" y="1208536"/>
            <a:ext cx="254435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>
                <a:hlinkClick r:id="rId4"/>
              </a:rPr>
              <a:t>Veiledning til pålogging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8208858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">
            <a:extLst>
              <a:ext uri="{FF2B5EF4-FFF2-40B4-BE49-F238E27FC236}">
                <a16:creationId xmlns:a16="http://schemas.microsoft.com/office/drawing/2014/main" id="{C16A1725-8576-303B-767C-EB61E2D827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5559" y="85281"/>
            <a:ext cx="8229600" cy="646331"/>
          </a:xfrm>
        </p:spPr>
        <p:txBody>
          <a:bodyPr/>
          <a:lstStyle/>
          <a:p>
            <a:r>
              <a:rPr lang="en-US" sz="2400" b="0" err="1">
                <a:solidFill>
                  <a:schemeClr val="accent2">
                    <a:lumMod val="50000"/>
                  </a:schemeClr>
                </a:solidFill>
              </a:rPr>
              <a:t>Gjennomføre</a:t>
            </a:r>
            <a:r>
              <a:rPr lang="en-US"/>
              <a:t> </a:t>
            </a:r>
            <a:r>
              <a:rPr lang="en-US" sz="2400" b="0">
                <a:solidFill>
                  <a:schemeClr val="accent2">
                    <a:lumMod val="50000"/>
                  </a:schemeClr>
                </a:solidFill>
              </a:rPr>
              <a:t>BOTT</a:t>
            </a:r>
            <a:r>
              <a:rPr lang="en-US"/>
              <a:t> </a:t>
            </a:r>
            <a:r>
              <a:rPr lang="en-US" sz="2400" b="0">
                <a:solidFill>
                  <a:schemeClr val="accent2">
                    <a:lumMod val="50000"/>
                  </a:schemeClr>
                </a:solidFill>
              </a:rPr>
              <a:t>e-</a:t>
            </a:r>
            <a:r>
              <a:rPr lang="en-US" sz="2400" b="0" err="1">
                <a:solidFill>
                  <a:schemeClr val="accent2">
                    <a:lumMod val="50000"/>
                  </a:schemeClr>
                </a:solidFill>
              </a:rPr>
              <a:t>læring</a:t>
            </a:r>
            <a:endParaRPr lang="en-US" sz="2400" b="0">
              <a:solidFill>
                <a:schemeClr val="accent2">
                  <a:lumMod val="50000"/>
                </a:schemeClr>
              </a:solidFill>
            </a:endParaRPr>
          </a:p>
        </p:txBody>
      </p:sp>
      <p:pic>
        <p:nvPicPr>
          <p:cNvPr id="7" name="Picture Placeholder 5" descr="Fagrekvirent - behov til betaling">
            <a:extLst>
              <a:ext uri="{FF2B5EF4-FFF2-40B4-BE49-F238E27FC236}">
                <a16:creationId xmlns:a16="http://schemas.microsoft.com/office/drawing/2014/main" id="{AC899FC9-27AB-507F-483B-312FDF4710A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1138893"/>
            <a:ext cx="3216262" cy="3394472"/>
          </a:xfrm>
          <a:prstGeom prst="rect">
            <a:avLst/>
          </a:prstGeom>
          <a:noFill/>
        </p:spPr>
      </p:pic>
      <p:sp>
        <p:nvSpPr>
          <p:cNvPr id="20" name="Content Placeholder 3">
            <a:extLst>
              <a:ext uri="{FF2B5EF4-FFF2-40B4-BE49-F238E27FC236}">
                <a16:creationId xmlns:a16="http://schemas.microsoft.com/office/drawing/2014/main" id="{9426DCB7-6C3F-9D04-85A4-803A1E10CDC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8200" y="2004013"/>
            <a:ext cx="4038600" cy="2590609"/>
          </a:xfrm>
        </p:spPr>
        <p:txBody>
          <a:bodyPr/>
          <a:lstStyle/>
          <a:p>
            <a:r>
              <a:rPr lang="en-US" sz="2000" err="1"/>
              <a:t>Kursene</a:t>
            </a:r>
            <a:r>
              <a:rPr lang="en-US" sz="2000"/>
              <a:t> ligger </a:t>
            </a:r>
            <a:r>
              <a:rPr lang="en-US" sz="2000" err="1"/>
              <a:t>på</a:t>
            </a:r>
            <a:r>
              <a:rPr lang="en-US" sz="2000"/>
              <a:t> </a:t>
            </a:r>
            <a:r>
              <a:rPr lang="en-US" sz="2000" err="1"/>
              <a:t>læringsplattformen</a:t>
            </a:r>
            <a:r>
              <a:rPr lang="en-US" sz="2000"/>
              <a:t> Canvas hos </a:t>
            </a:r>
            <a:r>
              <a:rPr lang="en-US" sz="2000" err="1"/>
              <a:t>UiB</a:t>
            </a:r>
            <a:endParaRPr lang="en-US" sz="2000"/>
          </a:p>
          <a:p>
            <a:endParaRPr lang="en-US" sz="2000"/>
          </a:p>
          <a:p>
            <a:r>
              <a:rPr lang="en-US" sz="2000"/>
              <a:t>Du logger </a:t>
            </a:r>
            <a:r>
              <a:rPr lang="en-US" sz="2000" err="1"/>
              <a:t>på</a:t>
            </a:r>
            <a:r>
              <a:rPr lang="en-US" sz="2000"/>
              <a:t> med din NTNU </a:t>
            </a:r>
            <a:r>
              <a:rPr lang="en-US" sz="2000" err="1"/>
              <a:t>Feide-bruker</a:t>
            </a:r>
            <a:endParaRPr lang="en-US" sz="2000"/>
          </a:p>
          <a:p>
            <a:endParaRPr lang="en-US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38810C80-CFA0-ACD3-999E-A3174696A3F4}"/>
              </a:ext>
            </a:extLst>
          </p:cNvPr>
          <p:cNvSpPr/>
          <p:nvPr/>
        </p:nvSpPr>
        <p:spPr>
          <a:xfrm>
            <a:off x="1007483" y="1123494"/>
            <a:ext cx="1308632" cy="317576"/>
          </a:xfrm>
          <a:prstGeom prst="ellipse">
            <a:avLst/>
          </a:prstGeom>
          <a:noFill/>
          <a:ln>
            <a:solidFill>
              <a:srgbClr val="FF000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2386419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987AD156-1516-5FB0-E122-0434FAFDF22A}"/>
              </a:ext>
            </a:extLst>
          </p:cNvPr>
          <p:cNvSpPr txBox="1"/>
          <p:nvPr/>
        </p:nvSpPr>
        <p:spPr>
          <a:xfrm>
            <a:off x="131380" y="285193"/>
            <a:ext cx="8229600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nb-NO" sz="1700" b="1" i="0" kern="1200">
                <a:latin typeface="Arial"/>
                <a:ea typeface="+mj-ea"/>
                <a:cs typeface="Arial"/>
              </a:rPr>
              <a:t>DFØ Systemopplæring: </a:t>
            </a:r>
          </a:p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nb-NO" sz="1700" b="1" i="0" kern="1200">
                <a:latin typeface="Arial"/>
                <a:ea typeface="+mj-ea"/>
                <a:cs typeface="Arial"/>
              </a:rPr>
              <a:t>Påmeldingslenke til DFØ-kurs ligger i kalenderinvitasjon</a:t>
            </a:r>
          </a:p>
        </p:txBody>
      </p:sp>
      <p:pic>
        <p:nvPicPr>
          <p:cNvPr id="6" name="Picture Placeholder 5" descr="Digdir &amp; DFØ - BOTT NTNU BtB i Unit4 ERP- Innkjøpsforespørsel -fagrekvirent 02.12.2022">
            <a:extLst>
              <a:ext uri="{FF2B5EF4-FFF2-40B4-BE49-F238E27FC236}">
                <a16:creationId xmlns:a16="http://schemas.microsoft.com/office/drawing/2014/main" id="{E1E8DFB3-9741-CE13-4E94-310B885F875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4513" y="1384146"/>
            <a:ext cx="3742287" cy="3686356"/>
          </a:xfrm>
          <a:prstGeom prst="rect">
            <a:avLst/>
          </a:prstGeom>
          <a:noFill/>
        </p:spPr>
      </p:pic>
      <p:pic>
        <p:nvPicPr>
          <p:cNvPr id="12" name="Picture Placeholder 5" descr="Digdir &amp; DFØ - BOTT NTNU BtB i Unit4 ERP- Innkjøpsforespørsel -fagrekvirent 02.12.2022">
            <a:extLst>
              <a:ext uri="{FF2B5EF4-FFF2-40B4-BE49-F238E27FC236}">
                <a16:creationId xmlns:a16="http://schemas.microsoft.com/office/drawing/2014/main" id="{A7E40D30-0C64-CAF2-A43D-FDBE6F79EB7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3326" y="1384146"/>
            <a:ext cx="4499531" cy="2827830"/>
          </a:xfrm>
          <a:prstGeom prst="rect">
            <a:avLst/>
          </a:prstGeom>
        </p:spPr>
      </p:pic>
      <p:pic>
        <p:nvPicPr>
          <p:cNvPr id="13" name="Picture Placeholder 5" descr="DFØ-Felles opplæringsplan BOTT-NTNU.xlsx">
            <a:extLst>
              <a:ext uri="{FF2B5EF4-FFF2-40B4-BE49-F238E27FC236}">
                <a16:creationId xmlns:a16="http://schemas.microsoft.com/office/drawing/2014/main" id="{E5B0CA50-9B32-43D2-79FD-D7A9ED9BC30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06772" y="1034019"/>
            <a:ext cx="4572638" cy="2667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211822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89585CFF-6FFA-D3A8-979C-5CE3260DB8E3}"/>
              </a:ext>
            </a:extLst>
          </p:cNvPr>
          <p:cNvSpPr txBox="1">
            <a:spLocks/>
          </p:cNvSpPr>
          <p:nvPr/>
        </p:nvSpPr>
        <p:spPr>
          <a:xfrm>
            <a:off x="292608" y="1689615"/>
            <a:ext cx="8229600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endParaRPr lang="nb-NO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C5E6C041-3B17-9A6F-98CE-45DC65CA8F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573" y="68819"/>
            <a:ext cx="8381997" cy="562117"/>
          </a:xfrm>
        </p:spPr>
        <p:txBody>
          <a:bodyPr/>
          <a:lstStyle/>
          <a:p>
            <a:r>
              <a:rPr lang="nb-NO"/>
              <a:t>Spørsmål om opplæring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17690808-70AE-28C2-4D2B-5A026C5544D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6573" y="758952"/>
            <a:ext cx="8381997" cy="4178808"/>
          </a:xfrm>
        </p:spPr>
        <p:txBody>
          <a:bodyPr>
            <a:normAutofit fontScale="47500" lnSpcReduction="20000"/>
          </a:bodyPr>
          <a:lstStyle/>
          <a:p>
            <a:r>
              <a:rPr lang="nb-NO"/>
              <a:t>Hvilken rolle har jeg?</a:t>
            </a:r>
          </a:p>
          <a:p>
            <a:pPr lvl="1"/>
            <a:r>
              <a:rPr lang="nb-NO"/>
              <a:t>Ta kontakt med nærmeste leder eller innføringsleder på din enhet </a:t>
            </a:r>
          </a:p>
          <a:p>
            <a:pPr lvl="1"/>
            <a:r>
              <a:rPr lang="nb-NO"/>
              <a:t>Oversikt over innføringsledere finnes på </a:t>
            </a:r>
            <a:r>
              <a:rPr lang="nb-NO">
                <a:hlinkClick r:id="rId3"/>
              </a:rPr>
              <a:t>BOTT ØL Innføring – Lokal innføring på enhetene</a:t>
            </a:r>
            <a:r>
              <a:rPr lang="nb-NO"/>
              <a:t> </a:t>
            </a:r>
          </a:p>
          <a:p>
            <a:pPr marL="457200" lvl="1" indent="0">
              <a:buNone/>
            </a:pPr>
            <a:endParaRPr lang="nb-NO"/>
          </a:p>
          <a:p>
            <a:r>
              <a:rPr lang="nb-NO"/>
              <a:t>Når skal jeg på kurs?</a:t>
            </a:r>
          </a:p>
          <a:p>
            <a:pPr lvl="1"/>
            <a:r>
              <a:rPr lang="nb-NO"/>
              <a:t>Oppdaterte kursdatoer vil hele tiden ligge på </a:t>
            </a:r>
            <a:r>
              <a:rPr lang="nb-NO">
                <a:hlinkClick r:id="rId4"/>
              </a:rPr>
              <a:t>BOTT ØL- opplæring</a:t>
            </a:r>
            <a:endParaRPr lang="nb-NO"/>
          </a:p>
          <a:p>
            <a:pPr lvl="1"/>
            <a:r>
              <a:rPr lang="nb-NO"/>
              <a:t>Du får kalenderinvitasjon til alle kurs du skal på</a:t>
            </a:r>
          </a:p>
          <a:p>
            <a:pPr marL="457200" lvl="1" indent="0">
              <a:buNone/>
            </a:pPr>
            <a:endParaRPr lang="nb-NO"/>
          </a:p>
          <a:p>
            <a:r>
              <a:rPr lang="nb-NO"/>
              <a:t>Hvilken egenlæring skal jeg gjennomføre?</a:t>
            </a:r>
          </a:p>
          <a:p>
            <a:pPr lvl="1"/>
            <a:r>
              <a:rPr lang="nb-NO"/>
              <a:t>For alle rollene er det spesifisert hvilke egenlæring som skal gjennomgås på opplæringssidene </a:t>
            </a:r>
          </a:p>
          <a:p>
            <a:pPr lvl="1"/>
            <a:r>
              <a:rPr lang="nb-NO"/>
              <a:t>Alle bør gjennomføre Basiskurs i ny økonomimodell </a:t>
            </a:r>
          </a:p>
          <a:p>
            <a:pPr lvl="1"/>
            <a:r>
              <a:rPr lang="nb-NO"/>
              <a:t>Så lenge rollen din har BOTT e-læring skal denne gjennomføres </a:t>
            </a:r>
          </a:p>
          <a:p>
            <a:pPr lvl="1"/>
            <a:r>
              <a:rPr lang="nb-NO"/>
              <a:t>For noen roller/oppgaver ligger har DFØ lagt ut videoer som er aktuelle, i opplæringsløpet for hver rolle er det lenker til aktuelle videoer</a:t>
            </a:r>
          </a:p>
          <a:p>
            <a:pPr marL="457200" lvl="1" indent="0">
              <a:buNone/>
            </a:pPr>
            <a:endParaRPr lang="nb-NO"/>
          </a:p>
          <a:p>
            <a:r>
              <a:rPr lang="nb-NO"/>
              <a:t>Hvor lang tid må jeg bruke?</a:t>
            </a:r>
          </a:p>
          <a:p>
            <a:pPr lvl="1"/>
            <a:r>
              <a:rPr lang="nb-NO"/>
              <a:t>De er det veldig vanskelig å svare på  - det vil avhenge av både av hvilken rolle du skal ha og erfaringsbakgrunn. Estimert tid for gjennomføring av e-læring er spesifisert i kursinformasjonen. Det anbefales også å sette av tid til gjennomgang og diskusjoner med kollegaer.</a:t>
            </a:r>
          </a:p>
          <a:p>
            <a:pPr lvl="1"/>
            <a:r>
              <a:rPr lang="nb-NO"/>
              <a:t>Opplæringsmateriell ligge tilgjengelig fra Innsida også etter kurs</a:t>
            </a:r>
          </a:p>
          <a:p>
            <a:pPr lvl="1"/>
            <a:r>
              <a:rPr lang="nb-NO"/>
              <a:t>Kan være lurt å gjennomføre egenlæring også etter oppgang for oppfrisking og nytt perspektiv</a:t>
            </a:r>
          </a:p>
          <a:p>
            <a:pPr marL="457200" lvl="1" indent="0">
              <a:buNone/>
            </a:pPr>
            <a:endParaRPr lang="nb-NO"/>
          </a:p>
          <a:p>
            <a:r>
              <a:rPr lang="nb-NO"/>
              <a:t>Jeg har problemer med påmelding eller gjennomføring av BOTT ØL e-læring</a:t>
            </a:r>
          </a:p>
          <a:p>
            <a:pPr lvl="1"/>
            <a:r>
              <a:rPr lang="nb-NO"/>
              <a:t>Husk å opprette bruker på Canvas først før du melder deg på kurs. Brukerveiledning ligger på opplæringssidene</a:t>
            </a:r>
          </a:p>
          <a:p>
            <a:pPr lvl="1"/>
            <a:r>
              <a:rPr lang="nb-NO"/>
              <a:t>Fortsatt problemer? Ta kontakt på: </a:t>
            </a:r>
            <a:r>
              <a:rPr lang="nb-NO">
                <a:hlinkClick r:id="rId5"/>
              </a:rPr>
              <a:t>Opplaering-bott-ol@ntnu.no</a:t>
            </a:r>
            <a:r>
              <a:rPr lang="nb-NO"/>
              <a:t> </a:t>
            </a:r>
          </a:p>
        </p:txBody>
      </p:sp>
      <p:sp>
        <p:nvSpPr>
          <p:cNvPr id="6" name="Title 4">
            <a:extLst>
              <a:ext uri="{FF2B5EF4-FFF2-40B4-BE49-F238E27FC236}">
                <a16:creationId xmlns:a16="http://schemas.microsoft.com/office/drawing/2014/main" id="{7B03DA14-C030-61F3-51E8-85A2FE2CD541}"/>
              </a:ext>
            </a:extLst>
          </p:cNvPr>
          <p:cNvSpPr txBox="1">
            <a:spLocks/>
          </p:cNvSpPr>
          <p:nvPr/>
        </p:nvSpPr>
        <p:spPr>
          <a:xfrm>
            <a:off x="457200" y="1621035"/>
            <a:ext cx="8229600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437097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7BDACA-D9DD-215B-555F-3511BAD28E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Spørsmål om opplæring?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62A335D-041A-E56B-3AD3-F1C3AF854E98}"/>
              </a:ext>
            </a:extLst>
          </p:cNvPr>
          <p:cNvSpPr txBox="1"/>
          <p:nvPr/>
        </p:nvSpPr>
        <p:spPr>
          <a:xfrm>
            <a:off x="326573" y="1818871"/>
            <a:ext cx="7882403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 sz="1800"/>
              <a:t>Spørsmål om opplæring sendes til: </a:t>
            </a:r>
            <a:r>
              <a:rPr lang="nb-NO" sz="2400" b="0" i="0" u="sng">
                <a:solidFill>
                  <a:srgbClr val="0000FF"/>
                </a:solidFill>
                <a:effectLst/>
                <a:latin typeface="Calibri" panose="020F0502020204030204" pitchFamily="34" charset="0"/>
                <a:hlinkClick r:id="rId3"/>
              </a:rPr>
              <a:t>opplaering-bott-ol@ntnu.no</a:t>
            </a:r>
            <a:r>
              <a:rPr lang="nb-NO" sz="1800" b="0" i="0">
                <a:solidFill>
                  <a:srgbClr val="323130"/>
                </a:solidFill>
                <a:effectLst/>
                <a:latin typeface="Calibri" panose="020F0502020204030204" pitchFamily="34" charset="0"/>
              </a:rPr>
              <a:t> </a:t>
            </a:r>
            <a:endParaRPr lang="nb-NO" sz="1800"/>
          </a:p>
        </p:txBody>
      </p:sp>
    </p:spTree>
    <p:extLst>
      <p:ext uri="{BB962C8B-B14F-4D97-AF65-F5344CB8AC3E}">
        <p14:creationId xmlns:p14="http://schemas.microsoft.com/office/powerpoint/2010/main" val="219881979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5FD3C8-9491-4823-8333-44B69CC483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nb-NO"/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94C2FC-6200-440B-85E5-FF627608D03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52488" y="3602725"/>
            <a:ext cx="6435960" cy="1628238"/>
          </a:xfrm>
        </p:spPr>
        <p:txBody>
          <a:bodyPr>
            <a:normAutofit/>
          </a:bodyPr>
          <a:lstStyle/>
          <a:p>
            <a:pPr lvl="1"/>
            <a:endParaRPr lang="nb-NO"/>
          </a:p>
          <a:p>
            <a:endParaRPr lang="nb-NO"/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9CEC64A9-177F-4F35-BFC9-924D072343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7564323"/>
              </p:ext>
            </p:extLst>
          </p:nvPr>
        </p:nvGraphicFramePr>
        <p:xfrm>
          <a:off x="409650" y="994346"/>
          <a:ext cx="6181967" cy="375399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181967">
                  <a:extLst>
                    <a:ext uri="{9D8B030D-6E8A-4147-A177-3AD203B41FA5}">
                      <a16:colId xmlns:a16="http://schemas.microsoft.com/office/drawing/2014/main" val="3031343381"/>
                    </a:ext>
                  </a:extLst>
                </a:gridCol>
              </a:tblGrid>
              <a:tr h="318298">
                <a:tc>
                  <a:txBody>
                    <a:bodyPr/>
                    <a:lstStyle/>
                    <a:p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Velkommen </a:t>
                      </a:r>
                    </a:p>
                    <a:p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nb-NO" sz="1600" i="1">
                          <a:solidFill>
                            <a:schemeClr val="tx1"/>
                          </a:solidFill>
                        </a:rPr>
                        <a:t>- Mål for møtet </a:t>
                      </a:r>
                    </a:p>
                    <a:p>
                      <a:r>
                        <a:rPr lang="nb-NO" sz="1600" i="1">
                          <a:solidFill>
                            <a:schemeClr val="tx1"/>
                          </a:solidFill>
                        </a:rPr>
                        <a:t> - Hvorfor BOTT ØL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7356267"/>
                  </a:ext>
                </a:extLst>
              </a:tr>
              <a:tr h="489216">
                <a:tc>
                  <a:txBody>
                    <a:bodyPr/>
                    <a:lstStyle/>
                    <a:p>
                      <a:r>
                        <a:rPr lang="nb-NO" sz="1600"/>
                        <a:t>Introduksjon til </a:t>
                      </a:r>
                      <a:r>
                        <a:rPr lang="nb-NO" sz="1600" err="1"/>
                        <a:t>btb</a:t>
                      </a:r>
                      <a:r>
                        <a:rPr lang="nb-NO" sz="1600"/>
                        <a:t>-prosessen 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nb-NO" sz="1600" i="1" err="1"/>
                        <a:t>Hovedflyt</a:t>
                      </a:r>
                      <a:r>
                        <a:rPr lang="nb-NO" sz="1600" i="1"/>
                        <a:t> i prosessen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nb-NO" sz="1600" i="1"/>
                        <a:t>Roller 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nb-NO" sz="1600" i="1" err="1"/>
                        <a:t>Hovedendringer</a:t>
                      </a:r>
                      <a:r>
                        <a:rPr lang="nb-NO" sz="1600" i="1"/>
                        <a:t> fra slik mange kjenner prosessen i dag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00165729"/>
                  </a:ext>
                </a:extLst>
              </a:tr>
              <a:tr h="489216">
                <a:tc>
                  <a:txBody>
                    <a:bodyPr/>
                    <a:lstStyle/>
                    <a:p>
                      <a:r>
                        <a:rPr lang="nb-NO" sz="1600"/>
                        <a:t>Informasjon om opplæring </a:t>
                      </a:r>
                    </a:p>
                    <a:p>
                      <a:r>
                        <a:rPr lang="nb-NO" sz="1600" i="1"/>
                        <a:t> - Struktur for opplæringsløp</a:t>
                      </a:r>
                    </a:p>
                    <a:p>
                      <a:r>
                        <a:rPr lang="nb-NO" sz="1600" i="1"/>
                        <a:t> - Praktisk info om opplæring</a:t>
                      </a:r>
                    </a:p>
                    <a:p>
                      <a:r>
                        <a:rPr lang="nb-NO" sz="1600" i="1"/>
                        <a:t> - Opplæring for roller i </a:t>
                      </a:r>
                      <a:r>
                        <a:rPr lang="nb-NO" sz="1600" i="1" err="1"/>
                        <a:t>BtB</a:t>
                      </a:r>
                      <a:r>
                        <a:rPr lang="nb-NO" sz="1600" i="1"/>
                        <a:t>-prosess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79177042"/>
                  </a:ext>
                </a:extLst>
              </a:tr>
              <a:tr h="398719">
                <a:tc>
                  <a:txBody>
                    <a:bodyPr/>
                    <a:lstStyle/>
                    <a:p>
                      <a:r>
                        <a:rPr lang="nb-NO" sz="1600">
                          <a:solidFill>
                            <a:schemeClr val="bg1"/>
                          </a:solidFill>
                        </a:rPr>
                        <a:t>Hvor kan du finne mer informasjon </a:t>
                      </a:r>
                    </a:p>
                  </a:txBody>
                  <a:tcPr>
                    <a:solidFill>
                      <a:srgbClr val="0D34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9807107"/>
                  </a:ext>
                </a:extLst>
              </a:tr>
              <a:tr h="398719">
                <a:tc>
                  <a:txBody>
                    <a:bodyPr/>
                    <a:lstStyle/>
                    <a:p>
                      <a:r>
                        <a:rPr lang="nb-NO" sz="1600"/>
                        <a:t>Spørsmål og svar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4224163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1554136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0809FA4-B265-439C-A1D1-65847F8572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93845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0809FA4-B265-439C-A1D1-65847F8572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phic 10" descr="Information outline">
            <a:extLst>
              <a:ext uri="{FF2B5EF4-FFF2-40B4-BE49-F238E27FC236}">
                <a16:creationId xmlns:a16="http://schemas.microsoft.com/office/drawing/2014/main" id="{EBBBD0AB-E3F5-4444-9615-1E30919B4A1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482006" y="2987504"/>
            <a:ext cx="1950017" cy="195001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B720FB8-DC71-4AAD-8500-79831D0430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573" y="205979"/>
            <a:ext cx="8381997" cy="523220"/>
          </a:xfrm>
        </p:spPr>
        <p:txBody>
          <a:bodyPr vert="horz"/>
          <a:lstStyle/>
          <a:p>
            <a:r>
              <a:rPr lang="nb-NO" sz="2800"/>
              <a:t>Hvor kan du finne mer informasj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A3C999-4171-48C8-970D-6FE7968043D0}"/>
              </a:ext>
            </a:extLst>
          </p:cNvPr>
          <p:cNvSpPr txBox="1"/>
          <p:nvPr/>
        </p:nvSpPr>
        <p:spPr>
          <a:xfrm>
            <a:off x="481631" y="1109844"/>
            <a:ext cx="7294259" cy="3385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b="1">
                <a:hlinkClick r:id="rId7"/>
              </a:rPr>
              <a:t>BOTT-samarbeidet.no </a:t>
            </a:r>
            <a:r>
              <a:rPr lang="nb-NO" sz="1400"/>
              <a:t>– Alt tilgjengelig materiale utarbeidet av BOTT. Inkluderer prosesskart, rutinebeskrivelse, rollebeskrivelser, lenker til e-læringskurs og brukerskjemaer </a:t>
            </a:r>
          </a:p>
          <a:p>
            <a:endParaRPr lang="nb-NO" sz="1400"/>
          </a:p>
          <a:p>
            <a:r>
              <a:rPr lang="nb-NO" sz="1400" b="1">
                <a:hlinkClick r:id="rId8"/>
              </a:rPr>
              <a:t>NTNU Intranettside for innføringsprosjekt </a:t>
            </a:r>
            <a:r>
              <a:rPr lang="nb-NO" sz="1400"/>
              <a:t>– Siste nytt, generell informasjon om prosjektet, informasjonspakker </a:t>
            </a:r>
            <a:r>
              <a:rPr lang="nb-NO" sz="1400" err="1"/>
              <a:t>osv</a:t>
            </a:r>
            <a:endParaRPr lang="nb-NO" sz="1400"/>
          </a:p>
          <a:p>
            <a:endParaRPr lang="nb-NO" sz="1400"/>
          </a:p>
          <a:p>
            <a:r>
              <a:rPr lang="nb-NO" sz="1400" b="1">
                <a:hlinkClick r:id="rId9"/>
              </a:rPr>
              <a:t>NTNU Intranettside for opplæring</a:t>
            </a:r>
            <a:r>
              <a:rPr lang="nb-NO" sz="1400"/>
              <a:t> – Info om opplæringsstruktur, aktuell opplæring per rolle og info om registrering for e-læringskurs</a:t>
            </a:r>
          </a:p>
          <a:p>
            <a:endParaRPr lang="nb-NO" sz="1400"/>
          </a:p>
          <a:p>
            <a:endParaRPr lang="nb-NO" sz="1400"/>
          </a:p>
          <a:p>
            <a:r>
              <a:rPr lang="nb-NO" sz="1400"/>
              <a:t>Spørsmål om opplæring sendes til: </a:t>
            </a:r>
            <a:r>
              <a:rPr lang="nb-NO" sz="1800" b="0" i="0" u="sng">
                <a:solidFill>
                  <a:srgbClr val="0000FF"/>
                </a:solidFill>
                <a:effectLst/>
                <a:latin typeface="Calibri" panose="020F0502020204030204" pitchFamily="34" charset="0"/>
                <a:hlinkClick r:id="rId10"/>
              </a:rPr>
              <a:t>opplaering-bott-ol@ntnu.no</a:t>
            </a:r>
            <a:r>
              <a:rPr lang="nb-NO" sz="1400" b="0" i="0">
                <a:solidFill>
                  <a:srgbClr val="323130"/>
                </a:solidFill>
                <a:effectLst/>
                <a:latin typeface="Calibri" panose="020F0502020204030204" pitchFamily="34" charset="0"/>
              </a:rPr>
              <a:t> </a:t>
            </a:r>
            <a:endParaRPr lang="nb-NO" sz="1400"/>
          </a:p>
          <a:p>
            <a:endParaRPr lang="nb-NO" sz="1400"/>
          </a:p>
          <a:p>
            <a:endParaRPr lang="nb-NO" sz="1400"/>
          </a:p>
          <a:p>
            <a:endParaRPr lang="nb-NO" sz="1400"/>
          </a:p>
        </p:txBody>
      </p:sp>
    </p:spTree>
    <p:extLst>
      <p:ext uri="{BB962C8B-B14F-4D97-AF65-F5344CB8AC3E}">
        <p14:creationId xmlns:p14="http://schemas.microsoft.com/office/powerpoint/2010/main" val="352731972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284B70B-4CD1-438D-93D1-3AE839CA04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284B70B-4CD1-438D-93D1-3AE839CA04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E06121E-CCC9-47B8-883C-1EB475ECD1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Kontaktpersoner </a:t>
            </a:r>
            <a:r>
              <a:rPr lang="nb-NO" err="1"/>
              <a:t>btb</a:t>
            </a:r>
            <a:r>
              <a:rPr lang="nb-NO"/>
              <a:t>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2530058-DF58-4DC2-B376-051632FBC83C}"/>
              </a:ext>
            </a:extLst>
          </p:cNvPr>
          <p:cNvSpPr txBox="1"/>
          <p:nvPr/>
        </p:nvSpPr>
        <p:spPr>
          <a:xfrm>
            <a:off x="4585883" y="1076122"/>
            <a:ext cx="131859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jektet: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011DD68-1936-47D3-BD18-D31D07349EDD}"/>
              </a:ext>
            </a:extLst>
          </p:cNvPr>
          <p:cNvSpPr txBox="1"/>
          <p:nvPr/>
        </p:nvSpPr>
        <p:spPr>
          <a:xfrm>
            <a:off x="326573" y="1072390"/>
            <a:ext cx="216010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essansvarlig: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8290180-82C2-4316-BA04-E7060D533275}"/>
              </a:ext>
            </a:extLst>
          </p:cNvPr>
          <p:cNvSpPr txBox="1"/>
          <p:nvPr/>
        </p:nvSpPr>
        <p:spPr>
          <a:xfrm>
            <a:off x="326573" y="2217716"/>
            <a:ext cx="268829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essrådgivere:   </a:t>
            </a:r>
          </a:p>
        </p:txBody>
      </p:sp>
      <p:pic>
        <p:nvPicPr>
          <p:cNvPr id="10242" name="Picture 2" descr="profileimage">
            <a:extLst>
              <a:ext uri="{FF2B5EF4-FFF2-40B4-BE49-F238E27FC236}">
                <a16:creationId xmlns:a16="http://schemas.microsoft.com/office/drawing/2014/main" id="{D40C4EF8-CF72-4BD4-A932-DEDD39F6DCC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6212" y="1371332"/>
            <a:ext cx="571394" cy="5713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24E5F2DA-533E-47B1-ADB4-920AEC27EEF1}"/>
              </a:ext>
            </a:extLst>
          </p:cNvPr>
          <p:cNvSpPr txBox="1"/>
          <p:nvPr/>
        </p:nvSpPr>
        <p:spPr>
          <a:xfrm>
            <a:off x="3065138" y="1332216"/>
            <a:ext cx="1941444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ristin Overvik</a:t>
            </a:r>
            <a:b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essansvarlig </a:t>
            </a:r>
            <a:r>
              <a:rPr kumimoji="0" lang="nb-NO" sz="9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tb</a:t>
            </a: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b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AF9002D-993A-4378-9128-AAE005858092}"/>
              </a:ext>
            </a:extLst>
          </p:cNvPr>
          <p:cNvSpPr txBox="1"/>
          <p:nvPr/>
        </p:nvSpPr>
        <p:spPr>
          <a:xfrm>
            <a:off x="5258407" y="1378969"/>
            <a:ext cx="19414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ry-Lene Johansen</a:t>
            </a: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jektleder P2 </a:t>
            </a:r>
          </a:p>
        </p:txBody>
      </p:sp>
      <p:pic>
        <p:nvPicPr>
          <p:cNvPr id="10244" name="Picture 4" descr="profileimage">
            <a:extLst>
              <a:ext uri="{FF2B5EF4-FFF2-40B4-BE49-F238E27FC236}">
                <a16:creationId xmlns:a16="http://schemas.microsoft.com/office/drawing/2014/main" id="{D9320971-8F30-4151-AFB2-27BEADA100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3785" y="1393232"/>
            <a:ext cx="571394" cy="5713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EF8CF278-C86E-4535-B3F9-DF1C542E2A2F}"/>
              </a:ext>
            </a:extLst>
          </p:cNvPr>
          <p:cNvSpPr txBox="1"/>
          <p:nvPr/>
        </p:nvSpPr>
        <p:spPr>
          <a:xfrm>
            <a:off x="7402766" y="1361167"/>
            <a:ext cx="127078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hristina Horvei (</a:t>
            </a:r>
            <a:r>
              <a:rPr kumimoji="0" lang="nb-NO" sz="9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loitte</a:t>
            </a:r>
            <a:r>
              <a:rPr kumimoji="0" lang="nb-NO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)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jektressurs P2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</p:txBody>
      </p:sp>
      <p:pic>
        <p:nvPicPr>
          <p:cNvPr id="10248" name="Picture 8" descr="profileimage">
            <a:extLst>
              <a:ext uri="{FF2B5EF4-FFF2-40B4-BE49-F238E27FC236}">
                <a16:creationId xmlns:a16="http://schemas.microsoft.com/office/drawing/2014/main" id="{C93419C7-EA02-4870-BF98-14C4F9917F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4836" y="2553643"/>
            <a:ext cx="576000" cy="57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596EFC2A-38BE-4E7C-A558-F5F18D5A8A2C}"/>
              </a:ext>
            </a:extLst>
          </p:cNvPr>
          <p:cNvSpPr txBox="1"/>
          <p:nvPr/>
        </p:nvSpPr>
        <p:spPr>
          <a:xfrm>
            <a:off x="3090836" y="2513157"/>
            <a:ext cx="1680887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enche Wilhelmsen Finseth</a:t>
            </a: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essrådgiver IV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E1744C0-F0DC-441B-BC79-B87E74D5D221}"/>
              </a:ext>
            </a:extLst>
          </p:cNvPr>
          <p:cNvSpPr txBox="1"/>
          <p:nvPr/>
        </p:nvSpPr>
        <p:spPr>
          <a:xfrm>
            <a:off x="7487836" y="2442742"/>
            <a:ext cx="19414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rianne Storset</a:t>
            </a:r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essrådgiver MH</a:t>
            </a:r>
          </a:p>
        </p:txBody>
      </p:sp>
      <p:pic>
        <p:nvPicPr>
          <p:cNvPr id="10250" name="Picture 10" descr="profileimage">
            <a:extLst>
              <a:ext uri="{FF2B5EF4-FFF2-40B4-BE49-F238E27FC236}">
                <a16:creationId xmlns:a16="http://schemas.microsoft.com/office/drawing/2014/main" id="{09AAC7DC-D167-474C-8656-BAA3A14503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141" y="2553643"/>
            <a:ext cx="576000" cy="57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473B5C00-B533-47B1-9A3F-3C016CFF4803}"/>
              </a:ext>
            </a:extLst>
          </p:cNvPr>
          <p:cNvSpPr txBox="1"/>
          <p:nvPr/>
        </p:nvSpPr>
        <p:spPr>
          <a:xfrm>
            <a:off x="1019948" y="2527810"/>
            <a:ext cx="146673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ristin Brevik Antonsen</a:t>
            </a:r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essrådgiver Felles adm.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3C3425A-DD74-4EB1-9978-72B808175916}"/>
              </a:ext>
            </a:extLst>
          </p:cNvPr>
          <p:cNvSpPr txBox="1"/>
          <p:nvPr/>
        </p:nvSpPr>
        <p:spPr>
          <a:xfrm>
            <a:off x="5352820" y="2513157"/>
            <a:ext cx="13446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andi Leikvold</a:t>
            </a:r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essrådgiver ØK</a:t>
            </a:r>
          </a:p>
        </p:txBody>
      </p:sp>
      <p:pic>
        <p:nvPicPr>
          <p:cNvPr id="10252" name="Picture 12" descr="profileimage">
            <a:extLst>
              <a:ext uri="{FF2B5EF4-FFF2-40B4-BE49-F238E27FC236}">
                <a16:creationId xmlns:a16="http://schemas.microsoft.com/office/drawing/2014/main" id="{8A16C6DA-003A-40DE-9D0B-FF396ED94D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9766" y="4082422"/>
            <a:ext cx="576000" cy="57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9A993E49-D03F-4B0D-AD25-2240CF25C60A}"/>
              </a:ext>
            </a:extLst>
          </p:cNvPr>
          <p:cNvSpPr txBox="1"/>
          <p:nvPr/>
        </p:nvSpPr>
        <p:spPr>
          <a:xfrm>
            <a:off x="7702826" y="4126929"/>
            <a:ext cx="19414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na Gulla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essrådgiver VM</a:t>
            </a:r>
          </a:p>
        </p:txBody>
      </p:sp>
      <p:pic>
        <p:nvPicPr>
          <p:cNvPr id="10254" name="Picture 14" descr="profileimage">
            <a:extLst>
              <a:ext uri="{FF2B5EF4-FFF2-40B4-BE49-F238E27FC236}">
                <a16:creationId xmlns:a16="http://schemas.microsoft.com/office/drawing/2014/main" id="{2BBD268E-29E7-4107-9289-9D9F5B666A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2407" y="3321338"/>
            <a:ext cx="576000" cy="57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2C54433A-3E46-4EA5-A04A-C6D2BD078269}"/>
              </a:ext>
            </a:extLst>
          </p:cNvPr>
          <p:cNvSpPr txBox="1"/>
          <p:nvPr/>
        </p:nvSpPr>
        <p:spPr>
          <a:xfrm>
            <a:off x="5310477" y="3276739"/>
            <a:ext cx="19414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ecilie Heimdal</a:t>
            </a:r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essrådgiver HF</a:t>
            </a:r>
          </a:p>
        </p:txBody>
      </p:sp>
      <p:pic>
        <p:nvPicPr>
          <p:cNvPr id="10256" name="Picture 16" descr="profileimage">
            <a:extLst>
              <a:ext uri="{FF2B5EF4-FFF2-40B4-BE49-F238E27FC236}">
                <a16:creationId xmlns:a16="http://schemas.microsoft.com/office/drawing/2014/main" id="{25B79EF7-4FD9-4AC1-A0B4-1D06A82065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2756" y="4092623"/>
            <a:ext cx="576000" cy="57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EFEC821B-6892-41AC-9CFE-951B094BBDEC}"/>
              </a:ext>
            </a:extLst>
          </p:cNvPr>
          <p:cNvSpPr txBox="1"/>
          <p:nvPr/>
        </p:nvSpPr>
        <p:spPr>
          <a:xfrm>
            <a:off x="5378327" y="4053468"/>
            <a:ext cx="1941444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ne-Grethe Nilsen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essrådgiver NV</a:t>
            </a:r>
            <a:b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0915A4E5-EAFD-4F36-8216-4284E9096B25}"/>
              </a:ext>
            </a:extLst>
          </p:cNvPr>
          <p:cNvSpPr txBox="1"/>
          <p:nvPr/>
        </p:nvSpPr>
        <p:spPr>
          <a:xfrm>
            <a:off x="3142424" y="4053468"/>
            <a:ext cx="19414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Yana</a:t>
            </a:r>
            <a:r>
              <a:rPr kumimoji="0" lang="nb-NO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nb-NO" sz="9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ezdudna</a:t>
            </a:r>
            <a:endParaRPr kumimoji="0" lang="nb-NO" sz="9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essrådgiver AD</a:t>
            </a:r>
          </a:p>
        </p:txBody>
      </p:sp>
      <p:pic>
        <p:nvPicPr>
          <p:cNvPr id="10258" name="Picture 18" descr="profileimage">
            <a:extLst>
              <a:ext uri="{FF2B5EF4-FFF2-40B4-BE49-F238E27FC236}">
                <a16:creationId xmlns:a16="http://schemas.microsoft.com/office/drawing/2014/main" id="{48E64775-A9B7-4087-923C-B22A9CDE15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4836" y="4092594"/>
            <a:ext cx="576000" cy="57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0" name="Picture 20" descr="profileimage">
            <a:extLst>
              <a:ext uri="{FF2B5EF4-FFF2-40B4-BE49-F238E27FC236}">
                <a16:creationId xmlns:a16="http://schemas.microsoft.com/office/drawing/2014/main" id="{0EF70D19-F4ED-4524-A8AD-AEFAFD6F98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8608" y="2553643"/>
            <a:ext cx="576000" cy="57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E4E4DEBF-BC79-4108-B28F-86CF32A8E368}"/>
              </a:ext>
            </a:extLst>
          </p:cNvPr>
          <p:cNvSpPr txBox="1"/>
          <p:nvPr/>
        </p:nvSpPr>
        <p:spPr>
          <a:xfrm>
            <a:off x="988838" y="1337822"/>
            <a:ext cx="13446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ren Ellingsberg</a:t>
            </a:r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essansvarlig </a:t>
            </a:r>
            <a:r>
              <a:rPr kumimoji="0" lang="nb-NO" sz="9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tb</a:t>
            </a:r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663C604E-77A8-46D0-AF24-EA0FA6B04909}"/>
              </a:ext>
            </a:extLst>
          </p:cNvPr>
          <p:cNvSpPr txBox="1"/>
          <p:nvPr/>
        </p:nvSpPr>
        <p:spPr>
          <a:xfrm>
            <a:off x="3075221" y="3287568"/>
            <a:ext cx="174289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ilje Storsul</a:t>
            </a:r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essrådgiver IV</a:t>
            </a:r>
          </a:p>
        </p:txBody>
      </p:sp>
      <p:pic>
        <p:nvPicPr>
          <p:cNvPr id="10262" name="Picture 22" descr="profileimage">
            <a:extLst>
              <a:ext uri="{FF2B5EF4-FFF2-40B4-BE49-F238E27FC236}">
                <a16:creationId xmlns:a16="http://schemas.microsoft.com/office/drawing/2014/main" id="{66292979-2FD5-42C3-A040-CCCEB802A4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067" y="1381786"/>
            <a:ext cx="576000" cy="57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3EB982FB-B70D-46F5-BC46-9B5CCF5779E2}"/>
              </a:ext>
            </a:extLst>
          </p:cNvPr>
          <p:cNvSpPr txBox="1"/>
          <p:nvPr/>
        </p:nvSpPr>
        <p:spPr>
          <a:xfrm>
            <a:off x="1009223" y="4126929"/>
            <a:ext cx="19414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Åse Vibeke Belsvik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essrådgiver IE</a:t>
            </a:r>
          </a:p>
        </p:txBody>
      </p:sp>
      <p:pic>
        <p:nvPicPr>
          <p:cNvPr id="10264" name="Picture 24" descr="profileimage">
            <a:extLst>
              <a:ext uri="{FF2B5EF4-FFF2-40B4-BE49-F238E27FC236}">
                <a16:creationId xmlns:a16="http://schemas.microsoft.com/office/drawing/2014/main" id="{B3FBB334-78F1-4C1C-9A8C-7D57517C29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9766" y="3292040"/>
            <a:ext cx="576000" cy="57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2ECFC784-016A-4F73-8486-F8E30E02B145}"/>
              </a:ext>
            </a:extLst>
          </p:cNvPr>
          <p:cNvSpPr txBox="1"/>
          <p:nvPr/>
        </p:nvSpPr>
        <p:spPr>
          <a:xfrm>
            <a:off x="7487836" y="3252914"/>
            <a:ext cx="1941444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ud Marit Lervik</a:t>
            </a:r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essrådgiver SU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fungerende)</a:t>
            </a:r>
          </a:p>
        </p:txBody>
      </p:sp>
      <p:pic>
        <p:nvPicPr>
          <p:cNvPr id="10266" name="Picture 26" descr="profileimage">
            <a:extLst>
              <a:ext uri="{FF2B5EF4-FFF2-40B4-BE49-F238E27FC236}">
                <a16:creationId xmlns:a16="http://schemas.microsoft.com/office/drawing/2014/main" id="{B9073208-E508-4B4B-A54C-EE2F786B41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4836" y="3293467"/>
            <a:ext cx="576000" cy="57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5C8A24DC-D8C1-4806-A264-29F759864BD0}"/>
              </a:ext>
            </a:extLst>
          </p:cNvPr>
          <p:cNvSpPr/>
          <p:nvPr/>
        </p:nvSpPr>
        <p:spPr>
          <a:xfrm>
            <a:off x="412838" y="4181061"/>
            <a:ext cx="576000" cy="576000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755BD314-E573-4FE8-BFFE-F580DB83C9CB}"/>
              </a:ext>
            </a:extLst>
          </p:cNvPr>
          <p:cNvSpPr/>
          <p:nvPr/>
        </p:nvSpPr>
        <p:spPr>
          <a:xfrm>
            <a:off x="6862533" y="2480288"/>
            <a:ext cx="576000" cy="576000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89932574-B47A-4D5E-92F7-D18556BC1974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 rotWithShape="1">
          <a:blip r:embed="rId19"/>
          <a:srcRect/>
          <a:stretch/>
        </p:blipFill>
        <p:spPr>
          <a:xfrm>
            <a:off x="6791379" y="1386605"/>
            <a:ext cx="576000" cy="576000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E4B883FB-F23F-B092-80EE-DE5325E882C1}"/>
              </a:ext>
            </a:extLst>
          </p:cNvPr>
          <p:cNvPicPr>
            <a:picLocks noChangeAspect="1"/>
          </p:cNvPicPr>
          <p:nvPr/>
        </p:nvPicPr>
        <p:blipFill rotWithShape="1"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913"/>
          <a:stretch/>
        </p:blipFill>
        <p:spPr>
          <a:xfrm>
            <a:off x="412838" y="3328959"/>
            <a:ext cx="576000" cy="643559"/>
          </a:xfrm>
          <a:prstGeom prst="rect">
            <a:avLst/>
          </a:prstGeom>
        </p:spPr>
      </p:pic>
      <p:sp>
        <p:nvSpPr>
          <p:cNvPr id="40" name="TextBox 39">
            <a:extLst>
              <a:ext uri="{FF2B5EF4-FFF2-40B4-BE49-F238E27FC236}">
                <a16:creationId xmlns:a16="http://schemas.microsoft.com/office/drawing/2014/main" id="{AA44F5EB-15DE-C133-1AB1-52E37BA3012C}"/>
              </a:ext>
            </a:extLst>
          </p:cNvPr>
          <p:cNvSpPr txBox="1"/>
          <p:nvPr/>
        </p:nvSpPr>
        <p:spPr>
          <a:xfrm>
            <a:off x="1042312" y="3384757"/>
            <a:ext cx="12886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anna Sundli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essrådgiver </a:t>
            </a:r>
            <a:r>
              <a:rPr lang="nb-NO" sz="900">
                <a:solidFill>
                  <a:srgbClr val="000000"/>
                </a:solidFill>
                <a:latin typeface="Arial" panose="020B0604020202020204"/>
              </a:rPr>
              <a:t>MH</a:t>
            </a:r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947510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5FD3C8-9491-4823-8333-44B69CC483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nb-NO"/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94C2FC-6200-440B-85E5-FF627608D03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52488" y="3602725"/>
            <a:ext cx="6435960" cy="1628238"/>
          </a:xfrm>
        </p:spPr>
        <p:txBody>
          <a:bodyPr>
            <a:normAutofit/>
          </a:bodyPr>
          <a:lstStyle/>
          <a:p>
            <a:pPr lvl="1"/>
            <a:endParaRPr lang="nb-NO"/>
          </a:p>
          <a:p>
            <a:endParaRPr lang="nb-NO"/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9CEC64A9-177F-4F35-BFC9-924D072343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19581283"/>
              </p:ext>
            </p:extLst>
          </p:nvPr>
        </p:nvGraphicFramePr>
        <p:xfrm>
          <a:off x="409650" y="994346"/>
          <a:ext cx="6181967" cy="375399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181967">
                  <a:extLst>
                    <a:ext uri="{9D8B030D-6E8A-4147-A177-3AD203B41FA5}">
                      <a16:colId xmlns:a16="http://schemas.microsoft.com/office/drawing/2014/main" val="3031343381"/>
                    </a:ext>
                  </a:extLst>
                </a:gridCol>
              </a:tblGrid>
              <a:tr h="318298">
                <a:tc>
                  <a:txBody>
                    <a:bodyPr/>
                    <a:lstStyle/>
                    <a:p>
                      <a:r>
                        <a:rPr lang="nb-NO" sz="1600">
                          <a:solidFill>
                            <a:schemeClr val="bg1"/>
                          </a:solidFill>
                        </a:rPr>
                        <a:t>Velkommen </a:t>
                      </a:r>
                    </a:p>
                    <a:p>
                      <a:r>
                        <a:rPr lang="nb-NO" sz="160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nb-NO" sz="1600" i="1">
                          <a:solidFill>
                            <a:schemeClr val="bg1"/>
                          </a:solidFill>
                        </a:rPr>
                        <a:t>- Mål for møtet </a:t>
                      </a:r>
                    </a:p>
                    <a:p>
                      <a:r>
                        <a:rPr lang="nb-NO" sz="1600" i="1">
                          <a:solidFill>
                            <a:schemeClr val="bg1"/>
                          </a:solidFill>
                        </a:rPr>
                        <a:t> - Hvorfor BOTT ØL</a:t>
                      </a:r>
                    </a:p>
                  </a:txBody>
                  <a:tcP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7356267"/>
                  </a:ext>
                </a:extLst>
              </a:tr>
              <a:tr h="489216">
                <a:tc>
                  <a:txBody>
                    <a:bodyPr/>
                    <a:lstStyle/>
                    <a:p>
                      <a:r>
                        <a:rPr lang="nb-NO" sz="1600"/>
                        <a:t>Introduksjon til </a:t>
                      </a:r>
                      <a:r>
                        <a:rPr lang="nb-NO" sz="1600" err="1"/>
                        <a:t>btb</a:t>
                      </a:r>
                      <a:r>
                        <a:rPr lang="nb-NO" sz="1600"/>
                        <a:t>-prosessen 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nb-NO" sz="1600" i="1" err="1"/>
                        <a:t>Hovedflyt</a:t>
                      </a:r>
                      <a:r>
                        <a:rPr lang="nb-NO" sz="1600" i="1"/>
                        <a:t> i prosessen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nb-NO" sz="1600" i="1"/>
                        <a:t>Roller 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nb-NO" sz="1600" i="1" err="1"/>
                        <a:t>Hovedendringer</a:t>
                      </a:r>
                      <a:r>
                        <a:rPr lang="nb-NO" sz="1600" i="1"/>
                        <a:t> fra slik mange kjenner prosessen i dag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00165729"/>
                  </a:ext>
                </a:extLst>
              </a:tr>
              <a:tr h="489216">
                <a:tc>
                  <a:txBody>
                    <a:bodyPr/>
                    <a:lstStyle/>
                    <a:p>
                      <a:r>
                        <a:rPr lang="nb-NO" sz="1600"/>
                        <a:t>Informasjon om opplæring </a:t>
                      </a:r>
                    </a:p>
                    <a:p>
                      <a:r>
                        <a:rPr lang="nb-NO" sz="1600" i="1"/>
                        <a:t> - Struktur for opplæringsløp</a:t>
                      </a:r>
                    </a:p>
                    <a:p>
                      <a:r>
                        <a:rPr lang="nb-NO" sz="1600" i="1"/>
                        <a:t> - Praktisk info om opplæring</a:t>
                      </a:r>
                    </a:p>
                    <a:p>
                      <a:r>
                        <a:rPr lang="nb-NO" sz="1600" i="1"/>
                        <a:t> - Opplæring for roller i </a:t>
                      </a:r>
                      <a:r>
                        <a:rPr lang="nb-NO" sz="1600" i="1" err="1"/>
                        <a:t>BtB</a:t>
                      </a:r>
                      <a:r>
                        <a:rPr lang="nb-NO" sz="1600" i="1"/>
                        <a:t>-prosess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79177042"/>
                  </a:ext>
                </a:extLst>
              </a:tr>
              <a:tr h="398719">
                <a:tc>
                  <a:txBody>
                    <a:bodyPr/>
                    <a:lstStyle/>
                    <a:p>
                      <a:r>
                        <a:rPr lang="nb-NO" sz="1600"/>
                        <a:t>Hvor kan du finne mer informasjon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59807107"/>
                  </a:ext>
                </a:extLst>
              </a:tr>
              <a:tr h="398719">
                <a:tc>
                  <a:txBody>
                    <a:bodyPr/>
                    <a:lstStyle/>
                    <a:p>
                      <a:r>
                        <a:rPr lang="nb-NO" sz="1600"/>
                        <a:t>Spørsmål og svar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4224163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3254077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5FD3C8-9491-4823-8333-44B69CC483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nb-NO"/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94C2FC-6200-440B-85E5-FF627608D03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52488" y="3602725"/>
            <a:ext cx="6435960" cy="1628238"/>
          </a:xfrm>
        </p:spPr>
        <p:txBody>
          <a:bodyPr>
            <a:normAutofit/>
          </a:bodyPr>
          <a:lstStyle/>
          <a:p>
            <a:pPr lvl="1"/>
            <a:endParaRPr lang="nb-NO"/>
          </a:p>
          <a:p>
            <a:endParaRPr lang="nb-NO"/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9CEC64A9-177F-4F35-BFC9-924D072343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78274623"/>
              </p:ext>
            </p:extLst>
          </p:nvPr>
        </p:nvGraphicFramePr>
        <p:xfrm>
          <a:off x="409650" y="994346"/>
          <a:ext cx="7700726" cy="375399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181967">
                  <a:extLst>
                    <a:ext uri="{9D8B030D-6E8A-4147-A177-3AD203B41FA5}">
                      <a16:colId xmlns:a16="http://schemas.microsoft.com/office/drawing/2014/main" val="3031343381"/>
                    </a:ext>
                  </a:extLst>
                </a:gridCol>
                <a:gridCol w="1518759">
                  <a:extLst>
                    <a:ext uri="{9D8B030D-6E8A-4147-A177-3AD203B41FA5}">
                      <a16:colId xmlns:a16="http://schemas.microsoft.com/office/drawing/2014/main" val="2136914587"/>
                    </a:ext>
                  </a:extLst>
                </a:gridCol>
              </a:tblGrid>
              <a:tr h="318298">
                <a:tc>
                  <a:txBody>
                    <a:bodyPr/>
                    <a:lstStyle/>
                    <a:p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Velkommen </a:t>
                      </a:r>
                    </a:p>
                    <a:p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nb-NO" sz="1600" i="1">
                          <a:solidFill>
                            <a:schemeClr val="tx1"/>
                          </a:solidFill>
                        </a:rPr>
                        <a:t>- Mål for møtet </a:t>
                      </a:r>
                    </a:p>
                    <a:p>
                      <a:r>
                        <a:rPr lang="nb-NO" sz="1600" i="1">
                          <a:solidFill>
                            <a:schemeClr val="tx1"/>
                          </a:solidFill>
                        </a:rPr>
                        <a:t> - Hvorfor BOTT ØL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7356267"/>
                  </a:ext>
                </a:extLst>
              </a:tr>
              <a:tr h="489216">
                <a:tc>
                  <a:txBody>
                    <a:bodyPr/>
                    <a:lstStyle/>
                    <a:p>
                      <a:r>
                        <a:rPr lang="nb-NO" sz="1600"/>
                        <a:t>Introduksjon til </a:t>
                      </a:r>
                      <a:r>
                        <a:rPr lang="nb-NO" sz="1600" err="1"/>
                        <a:t>btb</a:t>
                      </a:r>
                      <a:r>
                        <a:rPr lang="nb-NO" sz="1600"/>
                        <a:t>-prosessen 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nb-NO" sz="1600" i="1" err="1"/>
                        <a:t>Hovedflyt</a:t>
                      </a:r>
                      <a:r>
                        <a:rPr lang="nb-NO" sz="1600" i="1"/>
                        <a:t> i prosessen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nb-NO" sz="1600" i="1"/>
                        <a:t>Roller 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nb-NO" sz="1600" i="1" err="1"/>
                        <a:t>Hovedendringer</a:t>
                      </a:r>
                      <a:r>
                        <a:rPr lang="nb-NO" sz="1600" i="1"/>
                        <a:t> fra slik mange kjenner prosessen i dag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00165729"/>
                  </a:ext>
                </a:extLst>
              </a:tr>
              <a:tr h="489216">
                <a:tc>
                  <a:txBody>
                    <a:bodyPr/>
                    <a:lstStyle/>
                    <a:p>
                      <a:r>
                        <a:rPr lang="nb-NO" sz="1600"/>
                        <a:t>Informasjon om opplæring </a:t>
                      </a:r>
                    </a:p>
                    <a:p>
                      <a:r>
                        <a:rPr lang="nb-NO" sz="1600" i="1"/>
                        <a:t> - Struktur for opplæringsløp</a:t>
                      </a:r>
                    </a:p>
                    <a:p>
                      <a:r>
                        <a:rPr lang="nb-NO" sz="1600" i="1"/>
                        <a:t> - Praktisk info om opplæring</a:t>
                      </a:r>
                    </a:p>
                    <a:p>
                      <a:r>
                        <a:rPr lang="nb-NO" sz="1600" i="1"/>
                        <a:t> - Opplæring for roller i </a:t>
                      </a:r>
                      <a:r>
                        <a:rPr lang="nb-NO" sz="1600" i="1" err="1"/>
                        <a:t>BtB</a:t>
                      </a:r>
                      <a:r>
                        <a:rPr lang="nb-NO" sz="1600" i="1"/>
                        <a:t>-prosess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79177042"/>
                  </a:ext>
                </a:extLst>
              </a:tr>
              <a:tr h="398719">
                <a:tc>
                  <a:txBody>
                    <a:bodyPr/>
                    <a:lstStyle/>
                    <a:p>
                      <a:r>
                        <a:rPr lang="nb-NO" sz="1600"/>
                        <a:t>Hvor kan du finne mer informasjon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/>
                        <a:t> 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59807107"/>
                  </a:ext>
                </a:extLst>
              </a:tr>
              <a:tr h="398719">
                <a:tc>
                  <a:txBody>
                    <a:bodyPr/>
                    <a:lstStyle/>
                    <a:p>
                      <a:r>
                        <a:rPr lang="nb-NO" sz="1600">
                          <a:solidFill>
                            <a:schemeClr val="bg1"/>
                          </a:solidFill>
                        </a:rPr>
                        <a:t>Spørsmål og svar </a:t>
                      </a:r>
                    </a:p>
                  </a:txBody>
                  <a:tcPr>
                    <a:solidFill>
                      <a:srgbClr val="0D3475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0D34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224163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6717164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05A046F-C2A3-4431-9059-86CB6D68D80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05A046F-C2A3-4431-9059-86CB6D68D8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9794632-94F0-451D-972B-025EC8E86D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Spørsmål og svar</a:t>
            </a:r>
          </a:p>
        </p:txBody>
      </p:sp>
      <p:pic>
        <p:nvPicPr>
          <p:cNvPr id="4" name="Graphic 3" descr="Questions with solid fill">
            <a:extLst>
              <a:ext uri="{FF2B5EF4-FFF2-40B4-BE49-F238E27FC236}">
                <a16:creationId xmlns:a16="http://schemas.microsoft.com/office/drawing/2014/main" id="{E1926C42-1E95-42F2-92E2-23C6EC6ECC5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48794" y="1125958"/>
            <a:ext cx="3322502" cy="3322502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2513F58B-14C9-8BC6-7959-E28EDE9CCABB}"/>
              </a:ext>
            </a:extLst>
          </p:cNvPr>
          <p:cNvSpPr txBox="1"/>
          <p:nvPr/>
        </p:nvSpPr>
        <p:spPr>
          <a:xfrm>
            <a:off x="439200" y="1728000"/>
            <a:ext cx="3614400" cy="18466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3200" dirty="0"/>
              <a:t>Gå til menti.com</a:t>
            </a:r>
          </a:p>
          <a:p>
            <a:endParaRPr lang="nb-NO" sz="3200" dirty="0"/>
          </a:p>
          <a:p>
            <a:r>
              <a:rPr lang="nb-NO" sz="3200" dirty="0"/>
              <a:t>Kode: 36150114</a:t>
            </a:r>
          </a:p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53496169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6DEBCE-FA23-1B21-D1B3-27155F6455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6807F6-AA24-04E0-FF05-1EF7F4860D0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b-NO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437E4B1-A3C7-29E3-5D9C-2D3D7D7EB5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14696"/>
            <a:ext cx="9144000" cy="51435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A1899909-58CD-0475-EEA6-EACE6BC5D404}"/>
              </a:ext>
            </a:extLst>
          </p:cNvPr>
          <p:cNvSpPr txBox="1"/>
          <p:nvPr/>
        </p:nvSpPr>
        <p:spPr>
          <a:xfrm>
            <a:off x="1637211" y="1254034"/>
            <a:ext cx="676656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4800" b="1">
                <a:solidFill>
                  <a:schemeClr val="bg1"/>
                </a:solidFill>
              </a:rPr>
              <a:t>Takk for deltakelsen!</a:t>
            </a:r>
          </a:p>
        </p:txBody>
      </p:sp>
    </p:spTree>
    <p:extLst>
      <p:ext uri="{BB962C8B-B14F-4D97-AF65-F5344CB8AC3E}">
        <p14:creationId xmlns:p14="http://schemas.microsoft.com/office/powerpoint/2010/main" val="385840648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C5A01102-A4A1-4791-B7B0-EA1AC396472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35869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C5A01102-A4A1-4791-B7B0-EA1AC39647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C722380-6CA1-492C-94DF-216A8AE325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05981"/>
            <a:ext cx="8229600" cy="954107"/>
          </a:xfrm>
        </p:spPr>
        <p:txBody>
          <a:bodyPr vert="horz"/>
          <a:lstStyle/>
          <a:p>
            <a:r>
              <a:rPr lang="nb-NO" sz="2800"/>
              <a:t>Mål for møtet</a:t>
            </a:r>
            <a:br>
              <a:rPr lang="nb-NO" sz="2800"/>
            </a:br>
            <a:endParaRPr lang="nb-NO" sz="280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22C879B-C79A-4758-9213-30729E474039}"/>
              </a:ext>
            </a:extLst>
          </p:cNvPr>
          <p:cNvSpPr txBox="1"/>
          <p:nvPr/>
        </p:nvSpPr>
        <p:spPr>
          <a:xfrm>
            <a:off x="1865316" y="2110205"/>
            <a:ext cx="411479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36" indent="-285736" defTabSz="457178">
              <a:buFont typeface="Arial" panose="020B0604020202020204" pitchFamily="34" charset="0"/>
              <a:buChar char="•"/>
              <a:defRPr/>
            </a:pPr>
            <a:r>
              <a:rPr lang="nb-NO">
                <a:solidFill>
                  <a:srgbClr val="FFFFFF"/>
                </a:solidFill>
                <a:latin typeface="Arial" panose="020B0604020202020204"/>
              </a:rPr>
              <a:t>Få en felles forståelse for BOTT ØL</a:t>
            </a:r>
          </a:p>
          <a:p>
            <a:pPr marL="285736" indent="-285736" defTabSz="457178">
              <a:buFont typeface="Arial" panose="020B0604020202020204" pitchFamily="34" charset="0"/>
              <a:buChar char="•"/>
              <a:defRPr/>
            </a:pPr>
            <a:r>
              <a:rPr lang="nb-NO">
                <a:solidFill>
                  <a:srgbClr val="FFFFFF"/>
                </a:solidFill>
                <a:latin typeface="Arial" panose="020B0604020202020204"/>
              </a:rPr>
              <a:t>Innspill til ambisjonsnivå</a:t>
            </a:r>
          </a:p>
          <a:p>
            <a:pPr marL="457178" lvl="1" defTabSz="457178">
              <a:defRPr/>
            </a:pPr>
            <a:r>
              <a:rPr lang="nb-NO">
                <a:solidFill>
                  <a:srgbClr val="FFFFFF"/>
                </a:solidFill>
                <a:latin typeface="Arial" panose="020B0604020202020204"/>
              </a:rPr>
              <a:t>- For 2021</a:t>
            </a:r>
          </a:p>
          <a:p>
            <a:pPr marL="457178" lvl="1" defTabSz="457178">
              <a:defRPr/>
            </a:pPr>
            <a:r>
              <a:rPr lang="nb-NO">
                <a:solidFill>
                  <a:srgbClr val="FFFFFF"/>
                </a:solidFill>
                <a:latin typeface="Arial" panose="020B0604020202020204"/>
              </a:rPr>
              <a:t>- Fram til 2025</a:t>
            </a:r>
          </a:p>
          <a:p>
            <a:pPr defTabSz="457178">
              <a:defRPr/>
            </a:pPr>
            <a:endParaRPr lang="nb-NO">
              <a:solidFill>
                <a:srgbClr val="000000"/>
              </a:solidFill>
              <a:latin typeface="Arial" panose="020B0604020202020204"/>
            </a:endParaRPr>
          </a:p>
        </p:txBody>
      </p:sp>
      <p:pic>
        <p:nvPicPr>
          <p:cNvPr id="7" name="Picture 7" descr="A close up of a person&#10;&#10;Description automatically generated">
            <a:extLst>
              <a:ext uri="{FF2B5EF4-FFF2-40B4-BE49-F238E27FC236}">
                <a16:creationId xmlns:a16="http://schemas.microsoft.com/office/drawing/2014/main" id="{A866E86E-CDF0-44EA-B7FB-B2DADCCCD4A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64596" y="806659"/>
            <a:ext cx="8121477" cy="3855437"/>
          </a:xfrm>
          <a:prstGeom prst="rect">
            <a:avLst/>
          </a:prstGeom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BDCB3128-E062-42F9-8C82-A46881858251}"/>
              </a:ext>
            </a:extLst>
          </p:cNvPr>
          <p:cNvSpPr/>
          <p:nvPr/>
        </p:nvSpPr>
        <p:spPr>
          <a:xfrm>
            <a:off x="3000665" y="841294"/>
            <a:ext cx="5187430" cy="3560496"/>
          </a:xfrm>
          <a:prstGeom prst="ellipse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78">
              <a:defRPr/>
            </a:pPr>
            <a:endParaRPr lang="en-US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64FEDE8-BA72-4241-B240-0F6E538EDC9C}"/>
              </a:ext>
            </a:extLst>
          </p:cNvPr>
          <p:cNvSpPr txBox="1"/>
          <p:nvPr/>
        </p:nvSpPr>
        <p:spPr>
          <a:xfrm>
            <a:off x="3520576" y="1273245"/>
            <a:ext cx="4203448" cy="507831"/>
          </a:xfrm>
          <a:prstGeom prst="rect">
            <a:avLst/>
          </a:prstGeom>
          <a:noFill/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 defTabSz="685800"/>
            <a:endParaRPr lang="nb-NO" sz="1425" b="1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 defTabSz="685800"/>
            <a:endParaRPr lang="nb-NO" sz="1275" b="1">
              <a:solidFill>
                <a:srgbClr val="242424"/>
              </a:solidFill>
              <a:latin typeface="Arial" panose="020B0604020202020204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0CBA1E8-C827-0929-C3AD-DF6E405E4BBF}"/>
              </a:ext>
            </a:extLst>
          </p:cNvPr>
          <p:cNvSpPr txBox="1"/>
          <p:nvPr/>
        </p:nvSpPr>
        <p:spPr>
          <a:xfrm>
            <a:off x="3279431" y="1833207"/>
            <a:ext cx="453542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/>
            <a:r>
              <a:rPr lang="nb-NO" sz="2400">
                <a:solidFill>
                  <a:srgbClr val="000000"/>
                </a:solidFill>
                <a:latin typeface="Arial" panose="020B0604020202020204"/>
              </a:rPr>
              <a:t>Informere om </a:t>
            </a:r>
            <a:r>
              <a:rPr lang="nb-NO" sz="2400">
                <a:latin typeface="Arial" panose="020B0604020202020204"/>
              </a:rPr>
              <a:t>opplæringsløp</a:t>
            </a:r>
            <a:r>
              <a:rPr lang="nb-NO" sz="2400">
                <a:solidFill>
                  <a:srgbClr val="000000"/>
                </a:solidFill>
                <a:latin typeface="Arial" panose="020B0604020202020204"/>
              </a:rPr>
              <a:t> for din rolle og gi en introduksjon til </a:t>
            </a:r>
            <a:r>
              <a:rPr lang="nb-NO" sz="2400" b="1" i="1">
                <a:solidFill>
                  <a:srgbClr val="000000"/>
                </a:solidFill>
                <a:latin typeface="Arial" panose="020B0604020202020204"/>
              </a:rPr>
              <a:t>Behov til betalings-</a:t>
            </a:r>
            <a:r>
              <a:rPr lang="nb-NO" sz="2400">
                <a:solidFill>
                  <a:srgbClr val="000000"/>
                </a:solidFill>
                <a:latin typeface="Arial" panose="020B0604020202020204"/>
              </a:rPr>
              <a:t>prosessen</a:t>
            </a:r>
          </a:p>
        </p:txBody>
      </p:sp>
    </p:spTree>
    <p:extLst>
      <p:ext uri="{BB962C8B-B14F-4D97-AF65-F5344CB8AC3E}">
        <p14:creationId xmlns:p14="http://schemas.microsoft.com/office/powerpoint/2010/main" val="122787059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16456CD-9A51-4369-B624-AB0324D6E7B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5643087"/>
              </p:ext>
            </p:ext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16456CD-9A51-4369-B624-AB0324D6E7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3297F30B-D24D-4EE9-AF1A-452C8D09F1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98" y="25578"/>
            <a:ext cx="8418747" cy="1110177"/>
          </a:xfrm>
        </p:spPr>
        <p:txBody>
          <a:bodyPr vert="horz"/>
          <a:lstStyle/>
          <a:p>
            <a:pPr algn="ctr">
              <a:spcBef>
                <a:spcPct val="20000"/>
              </a:spcBef>
            </a:pPr>
            <a:r>
              <a:rPr lang="nb-NO">
                <a:solidFill>
                  <a:schemeClr val="tx2"/>
                </a:solidFill>
              </a:rPr>
              <a:t>Hvorfor BOTT ØL</a:t>
            </a:r>
            <a:br>
              <a:rPr lang="nb-NO"/>
            </a:br>
            <a:r>
              <a:rPr lang="nb-NO" sz="1500" b="0" i="1">
                <a:solidFill>
                  <a:srgbClr val="000000"/>
                </a:solidFill>
              </a:rPr>
              <a:t>Innføringen av nye økonomi- og lønnssystemer vil gi NTNU mange fordeler både i et fag- og brukerperspektiv</a:t>
            </a:r>
            <a:endParaRPr lang="nb-NO" sz="1500"/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5F5520E2-E70E-421E-853F-DFBEDAC60221}"/>
              </a:ext>
            </a:extLst>
          </p:cNvPr>
          <p:cNvGrpSpPr/>
          <p:nvPr/>
        </p:nvGrpSpPr>
        <p:grpSpPr>
          <a:xfrm>
            <a:off x="4524005" y="1355260"/>
            <a:ext cx="1890522" cy="1210630"/>
            <a:chOff x="3255959" y="1713774"/>
            <a:chExt cx="2520696" cy="1614175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8193DF72-A128-4DE5-8927-07C75A014018}"/>
                </a:ext>
              </a:extLst>
            </p:cNvPr>
            <p:cNvSpPr txBox="1"/>
            <p:nvPr/>
          </p:nvSpPr>
          <p:spPr>
            <a:xfrm>
              <a:off x="3255959" y="2589284"/>
              <a:ext cx="2520696" cy="738665"/>
            </a:xfrm>
            <a:prstGeom prst="rect">
              <a:avLst/>
            </a:prstGeom>
            <a:noFill/>
          </p:spPr>
          <p:txBody>
            <a:bodyPr wrap="square" lIns="68580" tIns="34290" rIns="68580" bIns="34290" rtlCol="0" anchor="t">
              <a:spAutoFit/>
            </a:bodyPr>
            <a:lstStyle/>
            <a:p>
              <a:pPr algn="ctr" defTabSz="685783">
                <a:defRPr/>
              </a:pPr>
              <a:r>
                <a:rPr lang="nb-NO" sz="1050">
                  <a:solidFill>
                    <a:srgbClr val="000000"/>
                  </a:solidFill>
                  <a:latin typeface="Arial" panose="020B0604020202020204"/>
                </a:rPr>
                <a:t>Vi får roller, systemer og prosesser som er laget for å fungere i lag</a:t>
              </a:r>
            </a:p>
          </p:txBody>
        </p:sp>
        <p:pic>
          <p:nvPicPr>
            <p:cNvPr id="19" name="Graphic 18" descr="Rope Knot with solid fill">
              <a:extLst>
                <a:ext uri="{FF2B5EF4-FFF2-40B4-BE49-F238E27FC236}">
                  <a16:creationId xmlns:a16="http://schemas.microsoft.com/office/drawing/2014/main" id="{0E113155-786B-45E5-B000-32C7D82CFB4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4136623" y="1713774"/>
              <a:ext cx="914400" cy="914400"/>
            </a:xfrm>
            <a:prstGeom prst="rect">
              <a:avLst/>
            </a:prstGeom>
          </p:spPr>
        </p:pic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8609F01-EA0B-4A82-84AE-4747634045FE}"/>
              </a:ext>
            </a:extLst>
          </p:cNvPr>
          <p:cNvGrpSpPr/>
          <p:nvPr/>
        </p:nvGrpSpPr>
        <p:grpSpPr>
          <a:xfrm>
            <a:off x="399450" y="1355260"/>
            <a:ext cx="1890522" cy="1232548"/>
            <a:chOff x="532600" y="1684550"/>
            <a:chExt cx="2520696" cy="1643399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19D253B3-4076-4EAB-AB1F-E800F4C61DFA}"/>
                </a:ext>
              </a:extLst>
            </p:cNvPr>
            <p:cNvSpPr txBox="1"/>
            <p:nvPr/>
          </p:nvSpPr>
          <p:spPr>
            <a:xfrm>
              <a:off x="532600" y="2589284"/>
              <a:ext cx="2520696" cy="738665"/>
            </a:xfrm>
            <a:prstGeom prst="rect">
              <a:avLst/>
            </a:prstGeom>
            <a:noFill/>
          </p:spPr>
          <p:txBody>
            <a:bodyPr wrap="square" lIns="68580" tIns="34290" rIns="68580" bIns="34290" rtlCol="0" anchor="t">
              <a:spAutoFit/>
            </a:bodyPr>
            <a:lstStyle/>
            <a:p>
              <a:pPr algn="ctr" defTabSz="685783">
                <a:defRPr/>
              </a:pPr>
              <a:r>
                <a:rPr lang="nb-NO" sz="1050">
                  <a:solidFill>
                    <a:srgbClr val="000000"/>
                  </a:solidFill>
                  <a:latin typeface="Arial" panose="020B0604020202020204"/>
                </a:rPr>
                <a:t>Vi erstatter utdaterte systemer med nye som vil være i kontinuerlig forbedring</a:t>
              </a:r>
            </a:p>
          </p:txBody>
        </p:sp>
        <p:pic>
          <p:nvPicPr>
            <p:cNvPr id="23" name="Graphic 22" descr="Building Brick Wall with solid fill">
              <a:extLst>
                <a:ext uri="{FF2B5EF4-FFF2-40B4-BE49-F238E27FC236}">
                  <a16:creationId xmlns:a16="http://schemas.microsoft.com/office/drawing/2014/main" id="{FAE93033-7CDC-43DE-A92F-FE06CB68BE2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1335748" y="1684550"/>
              <a:ext cx="914400" cy="914400"/>
            </a:xfrm>
            <a:prstGeom prst="rect">
              <a:avLst/>
            </a:prstGeom>
          </p:spPr>
        </p:pic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2EB019A2-F5DB-4119-8012-AAF09EEF25AE}"/>
              </a:ext>
            </a:extLst>
          </p:cNvPr>
          <p:cNvGrpSpPr/>
          <p:nvPr/>
        </p:nvGrpSpPr>
        <p:grpSpPr>
          <a:xfrm>
            <a:off x="6666298" y="1355259"/>
            <a:ext cx="2111329" cy="1371400"/>
            <a:chOff x="8888395" y="1714857"/>
            <a:chExt cx="2815105" cy="1828534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389CD5BA-9163-41DE-AB24-051B36CFE8EB}"/>
                </a:ext>
              </a:extLst>
            </p:cNvPr>
            <p:cNvSpPr txBox="1"/>
            <p:nvPr/>
          </p:nvSpPr>
          <p:spPr>
            <a:xfrm>
              <a:off x="8888395" y="2589283"/>
              <a:ext cx="2815105" cy="954108"/>
            </a:xfrm>
            <a:prstGeom prst="rect">
              <a:avLst/>
            </a:prstGeom>
            <a:noFill/>
          </p:spPr>
          <p:txBody>
            <a:bodyPr wrap="square" lIns="68580" tIns="34290" rIns="68580" bIns="34290" rtlCol="0" anchor="t">
              <a:spAutoFit/>
            </a:bodyPr>
            <a:lstStyle/>
            <a:p>
              <a:pPr algn="ctr" defTabSz="685783">
                <a:defRPr/>
              </a:pPr>
              <a:r>
                <a:rPr lang="nb-NO" sz="1050">
                  <a:solidFill>
                    <a:srgbClr val="000000"/>
                  </a:solidFill>
                  <a:latin typeface="Arial" panose="020B0604020202020204"/>
                </a:rPr>
                <a:t>Vi får økt funksjonalitet innen flere områder som pre-</a:t>
              </a:r>
              <a:r>
                <a:rPr lang="nb-NO" sz="1050" err="1">
                  <a:solidFill>
                    <a:srgbClr val="000000"/>
                  </a:solidFill>
                  <a:latin typeface="Arial" panose="020B0604020202020204"/>
                </a:rPr>
                <a:t>award</a:t>
              </a:r>
              <a:r>
                <a:rPr lang="nb-NO" sz="1050">
                  <a:solidFill>
                    <a:srgbClr val="000000"/>
                  </a:solidFill>
                  <a:latin typeface="Arial" panose="020B0604020202020204"/>
                </a:rPr>
                <a:t> (prosjektøkonomi) og selvbetjeningsløsninger</a:t>
              </a:r>
              <a:endParaRPr lang="nb-NO" sz="1050">
                <a:solidFill>
                  <a:srgbClr val="000000"/>
                </a:solidFill>
                <a:latin typeface="Arial" panose="020B0604020202020204"/>
                <a:cs typeface="Arial"/>
              </a:endParaRPr>
            </a:p>
          </p:txBody>
        </p:sp>
        <p:pic>
          <p:nvPicPr>
            <p:cNvPr id="31" name="Graphic 30" descr="Escalator Up with solid fill">
              <a:extLst>
                <a:ext uri="{FF2B5EF4-FFF2-40B4-BE49-F238E27FC236}">
                  <a16:creationId xmlns:a16="http://schemas.microsoft.com/office/drawing/2014/main" id="{1866CD66-A329-4B8E-89A1-151482746AA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9899361" y="1714857"/>
              <a:ext cx="914400" cy="914400"/>
            </a:xfrm>
            <a:prstGeom prst="rect">
              <a:avLst/>
            </a:prstGeom>
          </p:spPr>
        </p:pic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7960AEB2-C9C3-442D-BFAF-E77D8CCBB632}"/>
              </a:ext>
            </a:extLst>
          </p:cNvPr>
          <p:cNvGrpSpPr/>
          <p:nvPr/>
        </p:nvGrpSpPr>
        <p:grpSpPr>
          <a:xfrm>
            <a:off x="322358" y="2948501"/>
            <a:ext cx="1890522" cy="1637921"/>
            <a:chOff x="429810" y="3931334"/>
            <a:chExt cx="2520696" cy="2183895"/>
          </a:xfrm>
        </p:grpSpPr>
        <p:pic>
          <p:nvPicPr>
            <p:cNvPr id="27" name="Graphic 26" descr="Blockchain with solid fill">
              <a:extLst>
                <a:ext uri="{FF2B5EF4-FFF2-40B4-BE49-F238E27FC236}">
                  <a16:creationId xmlns:a16="http://schemas.microsoft.com/office/drawing/2014/main" id="{12A2C270-3BD3-40B6-B20C-F29C81F2DF5F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1210098" y="3931334"/>
              <a:ext cx="914400" cy="914400"/>
            </a:xfrm>
            <a:prstGeom prst="rect">
              <a:avLst/>
            </a:prstGeom>
          </p:spPr>
        </p:pic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3BACB568-D257-4038-985A-54928EB38F51}"/>
                </a:ext>
              </a:extLst>
            </p:cNvPr>
            <p:cNvSpPr txBox="1"/>
            <p:nvPr/>
          </p:nvSpPr>
          <p:spPr>
            <a:xfrm>
              <a:off x="429810" y="4945678"/>
              <a:ext cx="2520696" cy="1169551"/>
            </a:xfrm>
            <a:prstGeom prst="rect">
              <a:avLst/>
            </a:prstGeom>
            <a:noFill/>
          </p:spPr>
          <p:txBody>
            <a:bodyPr wrap="square" lIns="68580" tIns="34290" rIns="68580" bIns="34290" rtlCol="0" anchor="t">
              <a:spAutoFit/>
            </a:bodyPr>
            <a:lstStyle/>
            <a:p>
              <a:pPr algn="ctr" defTabSz="685783">
                <a:defRPr/>
              </a:pPr>
              <a:r>
                <a:rPr lang="nb-NO" sz="1050">
                  <a:solidFill>
                    <a:srgbClr val="000000"/>
                  </a:solidFill>
                  <a:latin typeface="Arial" panose="020B0604020202020204"/>
                </a:rPr>
                <a:t>Vi får prosessansvarlige, prosessrådgivere og fagbrukere i tett samarbeid som gir bedre kvalitet i tjenestene</a:t>
              </a: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D9B7BBCF-A287-4B0B-888B-C318BD14F1BF}"/>
              </a:ext>
            </a:extLst>
          </p:cNvPr>
          <p:cNvGrpSpPr/>
          <p:nvPr/>
        </p:nvGrpSpPr>
        <p:grpSpPr>
          <a:xfrm>
            <a:off x="2445971" y="2955664"/>
            <a:ext cx="1890522" cy="1630759"/>
            <a:chOff x="3261295" y="3940885"/>
            <a:chExt cx="2520696" cy="2174343"/>
          </a:xfrm>
        </p:grpSpPr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AF1D2489-C699-487F-BA98-BA32D112E53D}"/>
                </a:ext>
              </a:extLst>
            </p:cNvPr>
            <p:cNvSpPr txBox="1"/>
            <p:nvPr/>
          </p:nvSpPr>
          <p:spPr>
            <a:xfrm>
              <a:off x="3261295" y="4945679"/>
              <a:ext cx="2520696" cy="1169549"/>
            </a:xfrm>
            <a:prstGeom prst="rect">
              <a:avLst/>
            </a:prstGeom>
            <a:noFill/>
          </p:spPr>
          <p:txBody>
            <a:bodyPr wrap="square" lIns="68580" tIns="34290" rIns="68580" bIns="34290" rtlCol="0" anchor="t">
              <a:spAutoFit/>
            </a:bodyPr>
            <a:lstStyle/>
            <a:p>
              <a:pPr algn="ctr" defTabSz="685783">
                <a:defRPr/>
              </a:pPr>
              <a:r>
                <a:rPr lang="nb-NO" sz="1050">
                  <a:solidFill>
                    <a:srgbClr val="000000"/>
                  </a:solidFill>
                  <a:latin typeface="Arial" panose="020B0604020202020204"/>
                </a:rPr>
                <a:t>Vi vil følge lover, avtaler og regler da de er bygd inn i systemene (i delvis motsetning til dagens situasjon)</a:t>
              </a:r>
            </a:p>
          </p:txBody>
        </p:sp>
        <p:pic>
          <p:nvPicPr>
            <p:cNvPr id="38" name="Graphic 37" descr="Document with solid fill">
              <a:extLst>
                <a:ext uri="{FF2B5EF4-FFF2-40B4-BE49-F238E27FC236}">
                  <a16:creationId xmlns:a16="http://schemas.microsoft.com/office/drawing/2014/main" id="{1DB95787-A7AB-4B0C-822E-5CC753BDF13E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4154789" y="3940885"/>
              <a:ext cx="914400" cy="914400"/>
            </a:xfrm>
            <a:prstGeom prst="rect">
              <a:avLst/>
            </a:prstGeom>
          </p:spPr>
        </p:pic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51B6FA6A-97F1-4D79-8D19-EF2F60D64CCE}"/>
              </a:ext>
            </a:extLst>
          </p:cNvPr>
          <p:cNvGrpSpPr/>
          <p:nvPr/>
        </p:nvGrpSpPr>
        <p:grpSpPr>
          <a:xfrm>
            <a:off x="6860971" y="2941860"/>
            <a:ext cx="1890522" cy="1321394"/>
            <a:chOff x="9147961" y="3922484"/>
            <a:chExt cx="2520696" cy="1761860"/>
          </a:xfrm>
        </p:grpSpPr>
        <p:sp>
          <p:nvSpPr>
            <p:cNvPr id="21" name="TextBox 35">
              <a:extLst>
                <a:ext uri="{FF2B5EF4-FFF2-40B4-BE49-F238E27FC236}">
                  <a16:creationId xmlns:a16="http://schemas.microsoft.com/office/drawing/2014/main" id="{032E671C-DFA4-8846-7F87-10E71B0CCBB5}"/>
                </a:ext>
              </a:extLst>
            </p:cNvPr>
            <p:cNvSpPr txBox="1"/>
            <p:nvPr/>
          </p:nvSpPr>
          <p:spPr>
            <a:xfrm>
              <a:off x="9147961" y="4945679"/>
              <a:ext cx="2520696" cy="738665"/>
            </a:xfrm>
            <a:prstGeom prst="rect">
              <a:avLst/>
            </a:prstGeom>
            <a:noFill/>
          </p:spPr>
          <p:txBody>
            <a:bodyPr wrap="square" lIns="68580" tIns="34290" rIns="68580" bIns="34290" rtlCol="0" anchor="t">
              <a:spAutoFit/>
            </a:bodyPr>
            <a:lstStyle/>
            <a:p>
              <a:pPr algn="ctr" defTabSz="685783">
                <a:defRPr/>
              </a:pPr>
              <a:r>
                <a:rPr lang="nb-NO" sz="1050">
                  <a:solidFill>
                    <a:srgbClr val="000000"/>
                  </a:solidFill>
                  <a:latin typeface="Arial" panose="020B0604020202020204"/>
                </a:rPr>
                <a:t>Vi får systemer, prosesser og roller som bidrar til å realisere Ett NTNU</a:t>
              </a:r>
              <a:endParaRPr lang="nb-NO" sz="120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pic>
          <p:nvPicPr>
            <p:cNvPr id="22" name="Graphic 37" descr="Bank with solid fill">
              <a:extLst>
                <a:ext uri="{FF2B5EF4-FFF2-40B4-BE49-F238E27FC236}">
                  <a16:creationId xmlns:a16="http://schemas.microsoft.com/office/drawing/2014/main" id="{831D87C1-1ED9-16FC-D740-EEC5CCCF139C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9951109" y="3922484"/>
              <a:ext cx="914400" cy="914400"/>
            </a:xfrm>
            <a:prstGeom prst="rect">
              <a:avLst/>
            </a:prstGeom>
          </p:spPr>
        </p:pic>
      </p:grpSp>
      <p:sp>
        <p:nvSpPr>
          <p:cNvPr id="28" name="Freeform 114">
            <a:extLst>
              <a:ext uri="{FF2B5EF4-FFF2-40B4-BE49-F238E27FC236}">
                <a16:creationId xmlns:a16="http://schemas.microsoft.com/office/drawing/2014/main" id="{91755F43-BBE2-4091-9123-99234591EB5F}"/>
              </a:ext>
            </a:extLst>
          </p:cNvPr>
          <p:cNvSpPr>
            <a:spLocks noEditPoints="1"/>
          </p:cNvSpPr>
          <p:nvPr/>
        </p:nvSpPr>
        <p:spPr bwMode="auto">
          <a:xfrm>
            <a:off x="5324611" y="3062026"/>
            <a:ext cx="616003" cy="524774"/>
          </a:xfrm>
          <a:custGeom>
            <a:avLst/>
            <a:gdLst>
              <a:gd name="T0" fmla="*/ 288 w 320"/>
              <a:gd name="T1" fmla="*/ 203 h 267"/>
              <a:gd name="T2" fmla="*/ 277 w 320"/>
              <a:gd name="T3" fmla="*/ 128 h 267"/>
              <a:gd name="T4" fmla="*/ 171 w 320"/>
              <a:gd name="T5" fmla="*/ 75 h 267"/>
              <a:gd name="T6" fmla="*/ 203 w 320"/>
              <a:gd name="T7" fmla="*/ 64 h 267"/>
              <a:gd name="T8" fmla="*/ 192 w 320"/>
              <a:gd name="T9" fmla="*/ 0 h 267"/>
              <a:gd name="T10" fmla="*/ 117 w 320"/>
              <a:gd name="T11" fmla="*/ 11 h 267"/>
              <a:gd name="T12" fmla="*/ 128 w 320"/>
              <a:gd name="T13" fmla="*/ 75 h 267"/>
              <a:gd name="T14" fmla="*/ 149 w 320"/>
              <a:gd name="T15" fmla="*/ 128 h 267"/>
              <a:gd name="T16" fmla="*/ 32 w 320"/>
              <a:gd name="T17" fmla="*/ 139 h 267"/>
              <a:gd name="T18" fmla="*/ 11 w 320"/>
              <a:gd name="T19" fmla="*/ 203 h 267"/>
              <a:gd name="T20" fmla="*/ 0 w 320"/>
              <a:gd name="T21" fmla="*/ 256 h 267"/>
              <a:gd name="T22" fmla="*/ 75 w 320"/>
              <a:gd name="T23" fmla="*/ 267 h 267"/>
              <a:gd name="T24" fmla="*/ 85 w 320"/>
              <a:gd name="T25" fmla="*/ 214 h 267"/>
              <a:gd name="T26" fmla="*/ 53 w 320"/>
              <a:gd name="T27" fmla="*/ 203 h 267"/>
              <a:gd name="T28" fmla="*/ 149 w 320"/>
              <a:gd name="T29" fmla="*/ 150 h 267"/>
              <a:gd name="T30" fmla="*/ 128 w 320"/>
              <a:gd name="T31" fmla="*/ 203 h 267"/>
              <a:gd name="T32" fmla="*/ 117 w 320"/>
              <a:gd name="T33" fmla="*/ 256 h 267"/>
              <a:gd name="T34" fmla="*/ 192 w 320"/>
              <a:gd name="T35" fmla="*/ 267 h 267"/>
              <a:gd name="T36" fmla="*/ 203 w 320"/>
              <a:gd name="T37" fmla="*/ 214 h 267"/>
              <a:gd name="T38" fmla="*/ 171 w 320"/>
              <a:gd name="T39" fmla="*/ 203 h 267"/>
              <a:gd name="T40" fmla="*/ 267 w 320"/>
              <a:gd name="T41" fmla="*/ 150 h 267"/>
              <a:gd name="T42" fmla="*/ 245 w 320"/>
              <a:gd name="T43" fmla="*/ 203 h 267"/>
              <a:gd name="T44" fmla="*/ 235 w 320"/>
              <a:gd name="T45" fmla="*/ 256 h 267"/>
              <a:gd name="T46" fmla="*/ 309 w 320"/>
              <a:gd name="T47" fmla="*/ 267 h 267"/>
              <a:gd name="T48" fmla="*/ 320 w 320"/>
              <a:gd name="T49" fmla="*/ 214 h 267"/>
              <a:gd name="T50" fmla="*/ 139 w 320"/>
              <a:gd name="T51" fmla="*/ 22 h 267"/>
              <a:gd name="T52" fmla="*/ 181 w 320"/>
              <a:gd name="T53" fmla="*/ 54 h 267"/>
              <a:gd name="T54" fmla="*/ 139 w 320"/>
              <a:gd name="T55" fmla="*/ 22 h 267"/>
              <a:gd name="T56" fmla="*/ 21 w 320"/>
              <a:gd name="T57" fmla="*/ 246 h 267"/>
              <a:gd name="T58" fmla="*/ 64 w 320"/>
              <a:gd name="T59" fmla="*/ 224 h 267"/>
              <a:gd name="T60" fmla="*/ 181 w 320"/>
              <a:gd name="T61" fmla="*/ 246 h 267"/>
              <a:gd name="T62" fmla="*/ 139 w 320"/>
              <a:gd name="T63" fmla="*/ 224 h 267"/>
              <a:gd name="T64" fmla="*/ 181 w 320"/>
              <a:gd name="T65" fmla="*/ 246 h 267"/>
              <a:gd name="T66" fmla="*/ 256 w 320"/>
              <a:gd name="T67" fmla="*/ 246 h 267"/>
              <a:gd name="T68" fmla="*/ 299 w 320"/>
              <a:gd name="T69" fmla="*/ 224 h 2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320" h="267">
                <a:moveTo>
                  <a:pt x="309" y="203"/>
                </a:moveTo>
                <a:cubicBezTo>
                  <a:pt x="288" y="203"/>
                  <a:pt x="288" y="203"/>
                  <a:pt x="288" y="203"/>
                </a:cubicBezTo>
                <a:cubicBezTo>
                  <a:pt x="288" y="139"/>
                  <a:pt x="288" y="139"/>
                  <a:pt x="288" y="139"/>
                </a:cubicBezTo>
                <a:cubicBezTo>
                  <a:pt x="288" y="133"/>
                  <a:pt x="283" y="128"/>
                  <a:pt x="277" y="128"/>
                </a:cubicBezTo>
                <a:cubicBezTo>
                  <a:pt x="171" y="128"/>
                  <a:pt x="171" y="128"/>
                  <a:pt x="171" y="128"/>
                </a:cubicBezTo>
                <a:cubicBezTo>
                  <a:pt x="171" y="75"/>
                  <a:pt x="171" y="75"/>
                  <a:pt x="171" y="75"/>
                </a:cubicBezTo>
                <a:cubicBezTo>
                  <a:pt x="192" y="75"/>
                  <a:pt x="192" y="75"/>
                  <a:pt x="192" y="75"/>
                </a:cubicBezTo>
                <a:cubicBezTo>
                  <a:pt x="198" y="75"/>
                  <a:pt x="203" y="70"/>
                  <a:pt x="203" y="64"/>
                </a:cubicBezTo>
                <a:cubicBezTo>
                  <a:pt x="203" y="11"/>
                  <a:pt x="203" y="11"/>
                  <a:pt x="203" y="11"/>
                </a:cubicBezTo>
                <a:cubicBezTo>
                  <a:pt x="203" y="5"/>
                  <a:pt x="198" y="0"/>
                  <a:pt x="192" y="0"/>
                </a:cubicBezTo>
                <a:cubicBezTo>
                  <a:pt x="128" y="0"/>
                  <a:pt x="128" y="0"/>
                  <a:pt x="128" y="0"/>
                </a:cubicBezTo>
                <a:cubicBezTo>
                  <a:pt x="122" y="0"/>
                  <a:pt x="117" y="5"/>
                  <a:pt x="117" y="11"/>
                </a:cubicBezTo>
                <a:cubicBezTo>
                  <a:pt x="117" y="64"/>
                  <a:pt x="117" y="64"/>
                  <a:pt x="117" y="64"/>
                </a:cubicBezTo>
                <a:cubicBezTo>
                  <a:pt x="117" y="70"/>
                  <a:pt x="122" y="75"/>
                  <a:pt x="128" y="75"/>
                </a:cubicBezTo>
                <a:cubicBezTo>
                  <a:pt x="149" y="75"/>
                  <a:pt x="149" y="75"/>
                  <a:pt x="149" y="75"/>
                </a:cubicBezTo>
                <a:cubicBezTo>
                  <a:pt x="149" y="128"/>
                  <a:pt x="149" y="128"/>
                  <a:pt x="149" y="128"/>
                </a:cubicBezTo>
                <a:cubicBezTo>
                  <a:pt x="43" y="128"/>
                  <a:pt x="43" y="128"/>
                  <a:pt x="43" y="128"/>
                </a:cubicBezTo>
                <a:cubicBezTo>
                  <a:pt x="37" y="128"/>
                  <a:pt x="32" y="133"/>
                  <a:pt x="32" y="139"/>
                </a:cubicBezTo>
                <a:cubicBezTo>
                  <a:pt x="32" y="203"/>
                  <a:pt x="32" y="203"/>
                  <a:pt x="32" y="203"/>
                </a:cubicBezTo>
                <a:cubicBezTo>
                  <a:pt x="11" y="203"/>
                  <a:pt x="11" y="203"/>
                  <a:pt x="11" y="203"/>
                </a:cubicBezTo>
                <a:cubicBezTo>
                  <a:pt x="5" y="203"/>
                  <a:pt x="0" y="208"/>
                  <a:pt x="0" y="214"/>
                </a:cubicBezTo>
                <a:cubicBezTo>
                  <a:pt x="0" y="256"/>
                  <a:pt x="0" y="256"/>
                  <a:pt x="0" y="256"/>
                </a:cubicBezTo>
                <a:cubicBezTo>
                  <a:pt x="0" y="262"/>
                  <a:pt x="5" y="267"/>
                  <a:pt x="11" y="267"/>
                </a:cubicBezTo>
                <a:cubicBezTo>
                  <a:pt x="75" y="267"/>
                  <a:pt x="75" y="267"/>
                  <a:pt x="75" y="267"/>
                </a:cubicBezTo>
                <a:cubicBezTo>
                  <a:pt x="81" y="267"/>
                  <a:pt x="85" y="262"/>
                  <a:pt x="85" y="256"/>
                </a:cubicBezTo>
                <a:cubicBezTo>
                  <a:pt x="85" y="214"/>
                  <a:pt x="85" y="214"/>
                  <a:pt x="85" y="214"/>
                </a:cubicBezTo>
                <a:cubicBezTo>
                  <a:pt x="85" y="208"/>
                  <a:pt x="81" y="203"/>
                  <a:pt x="75" y="203"/>
                </a:cubicBezTo>
                <a:cubicBezTo>
                  <a:pt x="53" y="203"/>
                  <a:pt x="53" y="203"/>
                  <a:pt x="53" y="203"/>
                </a:cubicBezTo>
                <a:cubicBezTo>
                  <a:pt x="53" y="150"/>
                  <a:pt x="53" y="150"/>
                  <a:pt x="53" y="150"/>
                </a:cubicBezTo>
                <a:cubicBezTo>
                  <a:pt x="149" y="150"/>
                  <a:pt x="149" y="150"/>
                  <a:pt x="149" y="150"/>
                </a:cubicBezTo>
                <a:cubicBezTo>
                  <a:pt x="149" y="203"/>
                  <a:pt x="149" y="203"/>
                  <a:pt x="149" y="203"/>
                </a:cubicBezTo>
                <a:cubicBezTo>
                  <a:pt x="128" y="203"/>
                  <a:pt x="128" y="203"/>
                  <a:pt x="128" y="203"/>
                </a:cubicBezTo>
                <a:cubicBezTo>
                  <a:pt x="122" y="203"/>
                  <a:pt x="117" y="208"/>
                  <a:pt x="117" y="214"/>
                </a:cubicBezTo>
                <a:cubicBezTo>
                  <a:pt x="117" y="256"/>
                  <a:pt x="117" y="256"/>
                  <a:pt x="117" y="256"/>
                </a:cubicBezTo>
                <a:cubicBezTo>
                  <a:pt x="117" y="262"/>
                  <a:pt x="122" y="267"/>
                  <a:pt x="128" y="267"/>
                </a:cubicBezTo>
                <a:cubicBezTo>
                  <a:pt x="192" y="267"/>
                  <a:pt x="192" y="267"/>
                  <a:pt x="192" y="267"/>
                </a:cubicBezTo>
                <a:cubicBezTo>
                  <a:pt x="198" y="267"/>
                  <a:pt x="203" y="262"/>
                  <a:pt x="203" y="256"/>
                </a:cubicBezTo>
                <a:cubicBezTo>
                  <a:pt x="203" y="214"/>
                  <a:pt x="203" y="214"/>
                  <a:pt x="203" y="214"/>
                </a:cubicBezTo>
                <a:cubicBezTo>
                  <a:pt x="203" y="208"/>
                  <a:pt x="198" y="203"/>
                  <a:pt x="192" y="203"/>
                </a:cubicBezTo>
                <a:cubicBezTo>
                  <a:pt x="171" y="203"/>
                  <a:pt x="171" y="203"/>
                  <a:pt x="171" y="203"/>
                </a:cubicBezTo>
                <a:cubicBezTo>
                  <a:pt x="171" y="150"/>
                  <a:pt x="171" y="150"/>
                  <a:pt x="171" y="150"/>
                </a:cubicBezTo>
                <a:cubicBezTo>
                  <a:pt x="267" y="150"/>
                  <a:pt x="267" y="150"/>
                  <a:pt x="267" y="150"/>
                </a:cubicBezTo>
                <a:cubicBezTo>
                  <a:pt x="267" y="203"/>
                  <a:pt x="267" y="203"/>
                  <a:pt x="267" y="203"/>
                </a:cubicBezTo>
                <a:cubicBezTo>
                  <a:pt x="245" y="203"/>
                  <a:pt x="245" y="203"/>
                  <a:pt x="245" y="203"/>
                </a:cubicBezTo>
                <a:cubicBezTo>
                  <a:pt x="239" y="203"/>
                  <a:pt x="235" y="208"/>
                  <a:pt x="235" y="214"/>
                </a:cubicBezTo>
                <a:cubicBezTo>
                  <a:pt x="235" y="256"/>
                  <a:pt x="235" y="256"/>
                  <a:pt x="235" y="256"/>
                </a:cubicBezTo>
                <a:cubicBezTo>
                  <a:pt x="235" y="262"/>
                  <a:pt x="239" y="267"/>
                  <a:pt x="245" y="267"/>
                </a:cubicBezTo>
                <a:cubicBezTo>
                  <a:pt x="309" y="267"/>
                  <a:pt x="309" y="267"/>
                  <a:pt x="309" y="267"/>
                </a:cubicBezTo>
                <a:cubicBezTo>
                  <a:pt x="315" y="267"/>
                  <a:pt x="320" y="262"/>
                  <a:pt x="320" y="256"/>
                </a:cubicBezTo>
                <a:cubicBezTo>
                  <a:pt x="320" y="214"/>
                  <a:pt x="320" y="214"/>
                  <a:pt x="320" y="214"/>
                </a:cubicBezTo>
                <a:cubicBezTo>
                  <a:pt x="320" y="208"/>
                  <a:pt x="315" y="203"/>
                  <a:pt x="309" y="203"/>
                </a:cubicBezTo>
                <a:close/>
                <a:moveTo>
                  <a:pt x="139" y="22"/>
                </a:moveTo>
                <a:cubicBezTo>
                  <a:pt x="181" y="22"/>
                  <a:pt x="181" y="22"/>
                  <a:pt x="181" y="22"/>
                </a:cubicBezTo>
                <a:cubicBezTo>
                  <a:pt x="181" y="54"/>
                  <a:pt x="181" y="54"/>
                  <a:pt x="181" y="54"/>
                </a:cubicBezTo>
                <a:cubicBezTo>
                  <a:pt x="139" y="54"/>
                  <a:pt x="139" y="54"/>
                  <a:pt x="139" y="54"/>
                </a:cubicBezTo>
                <a:lnTo>
                  <a:pt x="139" y="22"/>
                </a:lnTo>
                <a:close/>
                <a:moveTo>
                  <a:pt x="64" y="246"/>
                </a:moveTo>
                <a:cubicBezTo>
                  <a:pt x="21" y="246"/>
                  <a:pt x="21" y="246"/>
                  <a:pt x="21" y="246"/>
                </a:cubicBezTo>
                <a:cubicBezTo>
                  <a:pt x="21" y="224"/>
                  <a:pt x="21" y="224"/>
                  <a:pt x="21" y="224"/>
                </a:cubicBezTo>
                <a:cubicBezTo>
                  <a:pt x="64" y="224"/>
                  <a:pt x="64" y="224"/>
                  <a:pt x="64" y="224"/>
                </a:cubicBezTo>
                <a:lnTo>
                  <a:pt x="64" y="246"/>
                </a:lnTo>
                <a:close/>
                <a:moveTo>
                  <a:pt x="181" y="246"/>
                </a:moveTo>
                <a:cubicBezTo>
                  <a:pt x="139" y="246"/>
                  <a:pt x="139" y="246"/>
                  <a:pt x="139" y="246"/>
                </a:cubicBezTo>
                <a:cubicBezTo>
                  <a:pt x="139" y="224"/>
                  <a:pt x="139" y="224"/>
                  <a:pt x="139" y="224"/>
                </a:cubicBezTo>
                <a:cubicBezTo>
                  <a:pt x="181" y="224"/>
                  <a:pt x="181" y="224"/>
                  <a:pt x="181" y="224"/>
                </a:cubicBezTo>
                <a:lnTo>
                  <a:pt x="181" y="246"/>
                </a:lnTo>
                <a:close/>
                <a:moveTo>
                  <a:pt x="299" y="246"/>
                </a:moveTo>
                <a:cubicBezTo>
                  <a:pt x="256" y="246"/>
                  <a:pt x="256" y="246"/>
                  <a:pt x="256" y="246"/>
                </a:cubicBezTo>
                <a:cubicBezTo>
                  <a:pt x="256" y="224"/>
                  <a:pt x="256" y="224"/>
                  <a:pt x="256" y="224"/>
                </a:cubicBezTo>
                <a:cubicBezTo>
                  <a:pt x="299" y="224"/>
                  <a:pt x="299" y="224"/>
                  <a:pt x="299" y="224"/>
                </a:cubicBezTo>
                <a:lnTo>
                  <a:pt x="299" y="246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:p14="http://schemas.microsoft.com/office/powerpoint/2010/main" xmlns:mc="http://schemas.openxmlformats.org/markup-compatibility/2006"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085" tIns="45542" rIns="91085" bIns="45542" numCol="1" anchor="t" anchorCtr="0" compatLnSpc="1">
            <a:prstTxWarp prst="textNoShape">
              <a:avLst/>
            </a:prstTxWarp>
          </a:bodyPr>
          <a:lstStyle/>
          <a:p>
            <a:pPr defTabSz="685783">
              <a:defRPr/>
            </a:pPr>
            <a:endParaRPr lang="en-GB" sz="239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29" name="TextBox 35">
            <a:extLst>
              <a:ext uri="{FF2B5EF4-FFF2-40B4-BE49-F238E27FC236}">
                <a16:creationId xmlns:a16="http://schemas.microsoft.com/office/drawing/2014/main" id="{29D72AC3-89A2-4F29-8C7C-BD57342D100A}"/>
              </a:ext>
            </a:extLst>
          </p:cNvPr>
          <p:cNvSpPr txBox="1"/>
          <p:nvPr/>
        </p:nvSpPr>
        <p:spPr>
          <a:xfrm>
            <a:off x="4737357" y="3709258"/>
            <a:ext cx="1890522" cy="553998"/>
          </a:xfrm>
          <a:prstGeom prst="rect">
            <a:avLst/>
          </a:prstGeom>
          <a:noFill/>
        </p:spPr>
        <p:txBody>
          <a:bodyPr wrap="square" lIns="68580" tIns="34290" rIns="68580" bIns="34290" rtlCol="0" anchor="t">
            <a:spAutoFit/>
          </a:bodyPr>
          <a:lstStyle/>
          <a:p>
            <a:pPr algn="ctr" defTabSz="685783">
              <a:defRPr/>
            </a:pPr>
            <a:r>
              <a:rPr lang="nb-NO" sz="1050">
                <a:solidFill>
                  <a:srgbClr val="000000"/>
                </a:solidFill>
                <a:latin typeface="Arial" panose="020B0604020202020204"/>
              </a:rPr>
              <a:t>Vi få ny økonomimodell som gir muligheter for god økonomistyring</a:t>
            </a:r>
            <a:endParaRPr lang="nb-NO" sz="1200">
              <a:solidFill>
                <a:srgbClr val="000000"/>
              </a:solidFill>
              <a:latin typeface="Arial" panose="020B0604020202020204"/>
            </a:endParaRP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B2E0CF9A-CC3C-4C1E-AAFC-9ABC96A9F638}"/>
              </a:ext>
            </a:extLst>
          </p:cNvPr>
          <p:cNvGrpSpPr/>
          <p:nvPr/>
        </p:nvGrpSpPr>
        <p:grpSpPr>
          <a:xfrm>
            <a:off x="2381716" y="1500408"/>
            <a:ext cx="1890523" cy="1209065"/>
            <a:chOff x="6178994" y="2113353"/>
            <a:chExt cx="2520696" cy="1612088"/>
          </a:xfrm>
        </p:grpSpPr>
        <p:sp>
          <p:nvSpPr>
            <p:cNvPr id="39" name="Freeform 933">
              <a:extLst>
                <a:ext uri="{FF2B5EF4-FFF2-40B4-BE49-F238E27FC236}">
                  <a16:creationId xmlns:a16="http://schemas.microsoft.com/office/drawing/2014/main" id="{C80A5DF4-476F-4241-8534-0A2D1F007B2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05195" y="2113353"/>
              <a:ext cx="668293" cy="527335"/>
            </a:xfrm>
            <a:custGeom>
              <a:avLst/>
              <a:gdLst>
                <a:gd name="T0" fmla="*/ 313 w 320"/>
                <a:gd name="T1" fmla="*/ 54 h 224"/>
                <a:gd name="T2" fmla="*/ 163 w 320"/>
                <a:gd name="T3" fmla="*/ 1 h 224"/>
                <a:gd name="T4" fmla="*/ 156 w 320"/>
                <a:gd name="T5" fmla="*/ 1 h 224"/>
                <a:gd name="T6" fmla="*/ 7 w 320"/>
                <a:gd name="T7" fmla="*/ 54 h 224"/>
                <a:gd name="T8" fmla="*/ 0 w 320"/>
                <a:gd name="T9" fmla="*/ 64 h 224"/>
                <a:gd name="T10" fmla="*/ 6 w 320"/>
                <a:gd name="T11" fmla="*/ 74 h 224"/>
                <a:gd name="T12" fmla="*/ 63 w 320"/>
                <a:gd name="T13" fmla="*/ 98 h 224"/>
                <a:gd name="T14" fmla="*/ 53 w 320"/>
                <a:gd name="T15" fmla="*/ 170 h 224"/>
                <a:gd name="T16" fmla="*/ 54 w 320"/>
                <a:gd name="T17" fmla="*/ 176 h 224"/>
                <a:gd name="T18" fmla="*/ 160 w 320"/>
                <a:gd name="T19" fmla="*/ 224 h 224"/>
                <a:gd name="T20" fmla="*/ 264 w 320"/>
                <a:gd name="T21" fmla="*/ 178 h 224"/>
                <a:gd name="T22" fmla="*/ 266 w 320"/>
                <a:gd name="T23" fmla="*/ 170 h 224"/>
                <a:gd name="T24" fmla="*/ 257 w 320"/>
                <a:gd name="T25" fmla="*/ 98 h 224"/>
                <a:gd name="T26" fmla="*/ 288 w 320"/>
                <a:gd name="T27" fmla="*/ 85 h 224"/>
                <a:gd name="T28" fmla="*/ 288 w 320"/>
                <a:gd name="T29" fmla="*/ 214 h 224"/>
                <a:gd name="T30" fmla="*/ 298 w 320"/>
                <a:gd name="T31" fmla="*/ 224 h 224"/>
                <a:gd name="T32" fmla="*/ 309 w 320"/>
                <a:gd name="T33" fmla="*/ 214 h 224"/>
                <a:gd name="T34" fmla="*/ 309 w 320"/>
                <a:gd name="T35" fmla="*/ 76 h 224"/>
                <a:gd name="T36" fmla="*/ 313 w 320"/>
                <a:gd name="T37" fmla="*/ 74 h 224"/>
                <a:gd name="T38" fmla="*/ 320 w 320"/>
                <a:gd name="T39" fmla="*/ 64 h 224"/>
                <a:gd name="T40" fmla="*/ 313 w 320"/>
                <a:gd name="T41" fmla="*/ 54 h 224"/>
                <a:gd name="T42" fmla="*/ 244 w 320"/>
                <a:gd name="T43" fmla="*/ 167 h 224"/>
                <a:gd name="T44" fmla="*/ 160 w 320"/>
                <a:gd name="T45" fmla="*/ 203 h 224"/>
                <a:gd name="T46" fmla="*/ 75 w 320"/>
                <a:gd name="T47" fmla="*/ 168 h 224"/>
                <a:gd name="T48" fmla="*/ 83 w 320"/>
                <a:gd name="T49" fmla="*/ 107 h 224"/>
                <a:gd name="T50" fmla="*/ 155 w 320"/>
                <a:gd name="T51" fmla="*/ 138 h 224"/>
                <a:gd name="T52" fmla="*/ 160 w 320"/>
                <a:gd name="T53" fmla="*/ 139 h 224"/>
                <a:gd name="T54" fmla="*/ 164 w 320"/>
                <a:gd name="T55" fmla="*/ 138 h 224"/>
                <a:gd name="T56" fmla="*/ 236 w 320"/>
                <a:gd name="T57" fmla="*/ 107 h 224"/>
                <a:gd name="T58" fmla="*/ 244 w 320"/>
                <a:gd name="T59" fmla="*/ 167 h 224"/>
                <a:gd name="T60" fmla="*/ 160 w 320"/>
                <a:gd name="T61" fmla="*/ 117 h 224"/>
                <a:gd name="T62" fmla="*/ 40 w 320"/>
                <a:gd name="T63" fmla="*/ 65 h 224"/>
                <a:gd name="T64" fmla="*/ 160 w 320"/>
                <a:gd name="T65" fmla="*/ 22 h 224"/>
                <a:gd name="T66" fmla="*/ 280 w 320"/>
                <a:gd name="T67" fmla="*/ 65 h 224"/>
                <a:gd name="T68" fmla="*/ 160 w 320"/>
                <a:gd name="T69" fmla="*/ 117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20" h="224">
                  <a:moveTo>
                    <a:pt x="313" y="54"/>
                  </a:moveTo>
                  <a:cubicBezTo>
                    <a:pt x="163" y="1"/>
                    <a:pt x="163" y="1"/>
                    <a:pt x="163" y="1"/>
                  </a:cubicBezTo>
                  <a:cubicBezTo>
                    <a:pt x="161" y="0"/>
                    <a:pt x="158" y="0"/>
                    <a:pt x="156" y="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3" y="56"/>
                    <a:pt x="0" y="60"/>
                    <a:pt x="0" y="64"/>
                  </a:cubicBezTo>
                  <a:cubicBezTo>
                    <a:pt x="0" y="68"/>
                    <a:pt x="2" y="72"/>
                    <a:pt x="6" y="74"/>
                  </a:cubicBezTo>
                  <a:cubicBezTo>
                    <a:pt x="63" y="98"/>
                    <a:pt x="63" y="98"/>
                    <a:pt x="63" y="98"/>
                  </a:cubicBezTo>
                  <a:cubicBezTo>
                    <a:pt x="53" y="170"/>
                    <a:pt x="53" y="170"/>
                    <a:pt x="53" y="170"/>
                  </a:cubicBezTo>
                  <a:cubicBezTo>
                    <a:pt x="53" y="172"/>
                    <a:pt x="53" y="174"/>
                    <a:pt x="54" y="176"/>
                  </a:cubicBezTo>
                  <a:cubicBezTo>
                    <a:pt x="56" y="178"/>
                    <a:pt x="83" y="224"/>
                    <a:pt x="160" y="224"/>
                  </a:cubicBezTo>
                  <a:cubicBezTo>
                    <a:pt x="223" y="224"/>
                    <a:pt x="262" y="180"/>
                    <a:pt x="264" y="178"/>
                  </a:cubicBezTo>
                  <a:cubicBezTo>
                    <a:pt x="266" y="176"/>
                    <a:pt x="267" y="173"/>
                    <a:pt x="266" y="170"/>
                  </a:cubicBezTo>
                  <a:cubicBezTo>
                    <a:pt x="257" y="98"/>
                    <a:pt x="257" y="98"/>
                    <a:pt x="257" y="98"/>
                  </a:cubicBezTo>
                  <a:cubicBezTo>
                    <a:pt x="288" y="85"/>
                    <a:pt x="288" y="85"/>
                    <a:pt x="288" y="85"/>
                  </a:cubicBezTo>
                  <a:cubicBezTo>
                    <a:pt x="288" y="214"/>
                    <a:pt x="288" y="214"/>
                    <a:pt x="288" y="214"/>
                  </a:cubicBezTo>
                  <a:cubicBezTo>
                    <a:pt x="288" y="220"/>
                    <a:pt x="292" y="224"/>
                    <a:pt x="298" y="224"/>
                  </a:cubicBezTo>
                  <a:cubicBezTo>
                    <a:pt x="304" y="224"/>
                    <a:pt x="309" y="220"/>
                    <a:pt x="309" y="214"/>
                  </a:cubicBezTo>
                  <a:cubicBezTo>
                    <a:pt x="309" y="76"/>
                    <a:pt x="309" y="76"/>
                    <a:pt x="309" y="76"/>
                  </a:cubicBezTo>
                  <a:cubicBezTo>
                    <a:pt x="313" y="74"/>
                    <a:pt x="313" y="74"/>
                    <a:pt x="313" y="74"/>
                  </a:cubicBezTo>
                  <a:cubicBezTo>
                    <a:pt x="317" y="72"/>
                    <a:pt x="320" y="68"/>
                    <a:pt x="320" y="64"/>
                  </a:cubicBezTo>
                  <a:cubicBezTo>
                    <a:pt x="320" y="60"/>
                    <a:pt x="317" y="56"/>
                    <a:pt x="313" y="54"/>
                  </a:cubicBezTo>
                  <a:close/>
                  <a:moveTo>
                    <a:pt x="244" y="167"/>
                  </a:moveTo>
                  <a:cubicBezTo>
                    <a:pt x="235" y="177"/>
                    <a:pt x="203" y="203"/>
                    <a:pt x="160" y="203"/>
                  </a:cubicBezTo>
                  <a:cubicBezTo>
                    <a:pt x="105" y="203"/>
                    <a:pt x="81" y="177"/>
                    <a:pt x="75" y="168"/>
                  </a:cubicBezTo>
                  <a:cubicBezTo>
                    <a:pt x="83" y="107"/>
                    <a:pt x="83" y="107"/>
                    <a:pt x="83" y="107"/>
                  </a:cubicBezTo>
                  <a:cubicBezTo>
                    <a:pt x="155" y="138"/>
                    <a:pt x="155" y="138"/>
                    <a:pt x="155" y="138"/>
                  </a:cubicBezTo>
                  <a:cubicBezTo>
                    <a:pt x="157" y="139"/>
                    <a:pt x="158" y="139"/>
                    <a:pt x="160" y="139"/>
                  </a:cubicBezTo>
                  <a:cubicBezTo>
                    <a:pt x="161" y="139"/>
                    <a:pt x="163" y="139"/>
                    <a:pt x="164" y="138"/>
                  </a:cubicBezTo>
                  <a:cubicBezTo>
                    <a:pt x="236" y="107"/>
                    <a:pt x="236" y="107"/>
                    <a:pt x="236" y="107"/>
                  </a:cubicBezTo>
                  <a:lnTo>
                    <a:pt x="244" y="167"/>
                  </a:lnTo>
                  <a:close/>
                  <a:moveTo>
                    <a:pt x="160" y="117"/>
                  </a:moveTo>
                  <a:cubicBezTo>
                    <a:pt x="40" y="65"/>
                    <a:pt x="40" y="65"/>
                    <a:pt x="40" y="65"/>
                  </a:cubicBezTo>
                  <a:cubicBezTo>
                    <a:pt x="160" y="22"/>
                    <a:pt x="160" y="22"/>
                    <a:pt x="160" y="22"/>
                  </a:cubicBezTo>
                  <a:cubicBezTo>
                    <a:pt x="280" y="65"/>
                    <a:pt x="280" y="65"/>
                    <a:pt x="280" y="65"/>
                  </a:cubicBezTo>
                  <a:lnTo>
                    <a:pt x="160" y="117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a14="http://schemas.microsoft.com/office/drawing/2010/main" xmlns:mc="http://schemas.openxmlformats.org/markup-compatibility/2006" xmlns:p14="http://schemas.microsoft.com/office/powerpoint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085" tIns="45542" rIns="91085" bIns="45542" numCol="1" anchor="t" anchorCtr="0" compatLnSpc="1">
              <a:prstTxWarp prst="textNoShape">
                <a:avLst/>
              </a:prstTxWarp>
            </a:bodyPr>
            <a:lstStyle/>
            <a:p>
              <a:pPr defTabSz="685783">
                <a:defRPr/>
              </a:pPr>
              <a:endParaRPr lang="en-GB" sz="239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0B3688B7-FAE0-4969-BBCA-4A70A8828926}"/>
                </a:ext>
              </a:extLst>
            </p:cNvPr>
            <p:cNvSpPr txBox="1"/>
            <p:nvPr/>
          </p:nvSpPr>
          <p:spPr>
            <a:xfrm>
              <a:off x="6178994" y="2771333"/>
              <a:ext cx="2520696" cy="954108"/>
            </a:xfrm>
            <a:prstGeom prst="rect">
              <a:avLst/>
            </a:prstGeom>
            <a:noFill/>
          </p:spPr>
          <p:txBody>
            <a:bodyPr wrap="square" lIns="68580" tIns="34290" rIns="68580" bIns="34290" rtlCol="0" anchor="t">
              <a:spAutoFit/>
            </a:bodyPr>
            <a:lstStyle/>
            <a:p>
              <a:pPr algn="ctr" defTabSz="685783">
                <a:defRPr/>
              </a:pPr>
              <a:r>
                <a:rPr lang="nb-NO" sz="1050">
                  <a:solidFill>
                    <a:srgbClr val="000000"/>
                  </a:solidFill>
                  <a:latin typeface="Arial" panose="020B0604020202020204"/>
                </a:rPr>
                <a:t>Samarbeid på tvers av UH-sektoren gir mulighet for å lære av hverandre og bli gode samme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2496179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F26029E-C611-41FA-9019-9F604A21976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0539558"/>
              </p:ext>
            </p:ext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F26029E-C611-41FA-9019-9F604A2197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F654825-8769-4EA3-B378-EADA0944C684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2" y="2"/>
            <a:ext cx="119063" cy="119063"/>
          </a:xfrm>
          <a:prstGeom prst="rect">
            <a:avLst/>
          </a:prstGeom>
          <a:solidFill>
            <a:srgbClr val="01509D"/>
          </a:solidFill>
          <a:ln>
            <a:noFill/>
          </a:ln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914333"/>
            <a:endParaRPr lang="nb-NO" sz="2000" b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4" name="Rektangel 21">
            <a:extLst>
              <a:ext uri="{FF2B5EF4-FFF2-40B4-BE49-F238E27FC236}">
                <a16:creationId xmlns:a16="http://schemas.microsoft.com/office/drawing/2014/main" id="{B257A21C-A005-4B9E-A4F6-D844B4D9A125}"/>
              </a:ext>
            </a:extLst>
          </p:cNvPr>
          <p:cNvSpPr/>
          <p:nvPr/>
        </p:nvSpPr>
        <p:spPr>
          <a:xfrm>
            <a:off x="3440818" y="1018626"/>
            <a:ext cx="3203555" cy="413380"/>
          </a:xfrm>
          <a:prstGeom prst="rect">
            <a:avLst/>
          </a:prstGeom>
          <a:gradFill flip="none" rotWithShape="1">
            <a:gsLst>
              <a:gs pos="50000">
                <a:schemeClr val="accent1"/>
              </a:gs>
              <a:gs pos="0">
                <a:schemeClr val="accent1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154"/>
            <a:r>
              <a:rPr lang="nb-NO" sz="1800" b="1">
                <a:solidFill>
                  <a:prstClr val="white"/>
                </a:solidFill>
                <a:latin typeface="Calibri"/>
              </a:rPr>
              <a:t>System </a:t>
            </a:r>
            <a:r>
              <a:rPr lang="nb-NO" sz="1800" b="1" err="1">
                <a:solidFill>
                  <a:prstClr val="white"/>
                </a:solidFill>
                <a:latin typeface="Calibri"/>
              </a:rPr>
              <a:t>idag</a:t>
            </a:r>
            <a:endParaRPr lang="nb-NO" sz="1800" b="1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5" name="Rektangel 22">
            <a:extLst>
              <a:ext uri="{FF2B5EF4-FFF2-40B4-BE49-F238E27FC236}">
                <a16:creationId xmlns:a16="http://schemas.microsoft.com/office/drawing/2014/main" id="{4C228A11-273B-49D5-B50F-DE91906B23B1}"/>
              </a:ext>
            </a:extLst>
          </p:cNvPr>
          <p:cNvSpPr/>
          <p:nvPr/>
        </p:nvSpPr>
        <p:spPr>
          <a:xfrm>
            <a:off x="6644374" y="1018628"/>
            <a:ext cx="2126785" cy="413381"/>
          </a:xfrm>
          <a:prstGeom prst="rect">
            <a:avLst/>
          </a:prstGeom>
          <a:solidFill>
            <a:schemeClr val="accent3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154"/>
            <a:r>
              <a:rPr lang="nb-NO" sz="1800" b="1">
                <a:solidFill>
                  <a:prstClr val="white"/>
                </a:solidFill>
                <a:latin typeface="Calibri"/>
              </a:rPr>
              <a:t>  System 2023</a:t>
            </a:r>
          </a:p>
        </p:txBody>
      </p:sp>
      <p:sp>
        <p:nvSpPr>
          <p:cNvPr id="46" name="Rektangel 23">
            <a:extLst>
              <a:ext uri="{FF2B5EF4-FFF2-40B4-BE49-F238E27FC236}">
                <a16:creationId xmlns:a16="http://schemas.microsoft.com/office/drawing/2014/main" id="{E09DA501-C388-45F9-B349-50770D777ED2}"/>
              </a:ext>
            </a:extLst>
          </p:cNvPr>
          <p:cNvSpPr/>
          <p:nvPr/>
        </p:nvSpPr>
        <p:spPr>
          <a:xfrm>
            <a:off x="314554" y="1018566"/>
            <a:ext cx="3133940" cy="413569"/>
          </a:xfrm>
          <a:prstGeom prst="rect">
            <a:avLst/>
          </a:prstGeom>
          <a:solidFill>
            <a:srgbClr val="01509D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154"/>
            <a:r>
              <a:rPr lang="nb-NO" sz="1800" b="1">
                <a:solidFill>
                  <a:prstClr val="white"/>
                </a:solidFill>
                <a:latin typeface="Calibri"/>
              </a:rPr>
              <a:t>Våre oppgaver i dag</a:t>
            </a:r>
          </a:p>
        </p:txBody>
      </p:sp>
      <p:sp>
        <p:nvSpPr>
          <p:cNvPr id="34" name="Rektangel 8">
            <a:extLst>
              <a:ext uri="{FF2B5EF4-FFF2-40B4-BE49-F238E27FC236}">
                <a16:creationId xmlns:a16="http://schemas.microsoft.com/office/drawing/2014/main" id="{4BB5B19D-25BD-4DEB-B966-94CE1A9D3641}"/>
              </a:ext>
            </a:extLst>
          </p:cNvPr>
          <p:cNvSpPr/>
          <p:nvPr/>
        </p:nvSpPr>
        <p:spPr>
          <a:xfrm>
            <a:off x="3448498" y="1688820"/>
            <a:ext cx="3230834" cy="837000"/>
          </a:xfrm>
          <a:prstGeom prst="rect">
            <a:avLst/>
          </a:prstGeom>
          <a:gradFill flip="none" rotWithShape="1">
            <a:gsLst>
              <a:gs pos="50000">
                <a:schemeClr val="accent1"/>
              </a:gs>
              <a:gs pos="0">
                <a:schemeClr val="accent1"/>
              </a:gs>
              <a:gs pos="100000">
                <a:srgbClr val="4F81BD"/>
              </a:gs>
            </a:gsLst>
            <a:lin ang="0" scaled="1"/>
            <a:tileRect/>
          </a:gra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154"/>
            <a:r>
              <a:rPr lang="nb-NO" sz="1050">
                <a:solidFill>
                  <a:prstClr val="white"/>
                </a:solidFill>
                <a:latin typeface="Calibri"/>
              </a:rPr>
              <a:t>BEVISST plan</a:t>
            </a:r>
            <a:br>
              <a:rPr lang="nb-NO" sz="1050">
                <a:solidFill>
                  <a:prstClr val="white"/>
                </a:solidFill>
                <a:latin typeface="Calibri"/>
              </a:rPr>
            </a:br>
            <a:r>
              <a:rPr lang="nb-NO" sz="1050">
                <a:solidFill>
                  <a:prstClr val="white"/>
                </a:solidFill>
                <a:latin typeface="Calibri"/>
              </a:rPr>
              <a:t>BEVISST innsikt</a:t>
            </a:r>
          </a:p>
        </p:txBody>
      </p:sp>
      <p:sp>
        <p:nvSpPr>
          <p:cNvPr id="40" name="Rektangel 15">
            <a:extLst>
              <a:ext uri="{FF2B5EF4-FFF2-40B4-BE49-F238E27FC236}">
                <a16:creationId xmlns:a16="http://schemas.microsoft.com/office/drawing/2014/main" id="{2205FD27-F466-47EC-B421-E3C682CCF646}"/>
              </a:ext>
            </a:extLst>
          </p:cNvPr>
          <p:cNvSpPr/>
          <p:nvPr/>
        </p:nvSpPr>
        <p:spPr>
          <a:xfrm>
            <a:off x="6652053" y="1688820"/>
            <a:ext cx="2119108" cy="837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defTabSz="457154"/>
            <a:r>
              <a:rPr lang="nb-NO" sz="1050">
                <a:solidFill>
                  <a:prstClr val="white"/>
                </a:solidFill>
                <a:latin typeface="Calibri"/>
              </a:rPr>
              <a:t>	BEVISST plan</a:t>
            </a:r>
            <a:br>
              <a:rPr lang="nb-NO" sz="1050">
                <a:solidFill>
                  <a:prstClr val="white"/>
                </a:solidFill>
                <a:latin typeface="Calibri"/>
              </a:rPr>
            </a:br>
            <a:r>
              <a:rPr lang="nb-NO" sz="1050">
                <a:solidFill>
                  <a:prstClr val="white"/>
                </a:solidFill>
                <a:latin typeface="Calibri"/>
              </a:rPr>
              <a:t>	BEVISST innsikt</a:t>
            </a:r>
          </a:p>
        </p:txBody>
      </p:sp>
      <p:sp>
        <p:nvSpPr>
          <p:cNvPr id="41" name="Rektangel 12">
            <a:extLst>
              <a:ext uri="{FF2B5EF4-FFF2-40B4-BE49-F238E27FC236}">
                <a16:creationId xmlns:a16="http://schemas.microsoft.com/office/drawing/2014/main" id="{B1483B8B-BD0C-42DB-9B30-4D3F03F2887E}"/>
              </a:ext>
            </a:extLst>
          </p:cNvPr>
          <p:cNvSpPr/>
          <p:nvPr/>
        </p:nvSpPr>
        <p:spPr>
          <a:xfrm>
            <a:off x="326992" y="1653102"/>
            <a:ext cx="3121502" cy="837000"/>
          </a:xfrm>
          <a:prstGeom prst="rect">
            <a:avLst/>
          </a:prstGeom>
          <a:solidFill>
            <a:srgbClr val="01509D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154"/>
            <a:r>
              <a:rPr lang="nb-NO" sz="1050">
                <a:solidFill>
                  <a:prstClr val="white"/>
                </a:solidFill>
                <a:latin typeface="Calibri"/>
              </a:rPr>
              <a:t>Budsjettering, </a:t>
            </a:r>
            <a:br>
              <a:rPr lang="nb-NO" sz="1050">
                <a:solidFill>
                  <a:prstClr val="white"/>
                </a:solidFill>
                <a:latin typeface="Calibri"/>
              </a:rPr>
            </a:br>
            <a:r>
              <a:rPr lang="nb-NO" sz="1050">
                <a:solidFill>
                  <a:prstClr val="white"/>
                </a:solidFill>
                <a:latin typeface="Calibri"/>
              </a:rPr>
              <a:t>bemanningsplan, </a:t>
            </a:r>
            <a:br>
              <a:rPr lang="nb-NO" sz="1050">
                <a:solidFill>
                  <a:prstClr val="white"/>
                </a:solidFill>
                <a:latin typeface="Calibri"/>
              </a:rPr>
            </a:br>
            <a:r>
              <a:rPr lang="nb-NO" sz="1050">
                <a:solidFill>
                  <a:prstClr val="white"/>
                </a:solidFill>
                <a:latin typeface="Calibri"/>
              </a:rPr>
              <a:t>virksomhetsrapporter</a:t>
            </a:r>
          </a:p>
        </p:txBody>
      </p:sp>
      <p:sp>
        <p:nvSpPr>
          <p:cNvPr id="8" name="Arrow: Right 7">
            <a:extLst>
              <a:ext uri="{FF2B5EF4-FFF2-40B4-BE49-F238E27FC236}">
                <a16:creationId xmlns:a16="http://schemas.microsoft.com/office/drawing/2014/main" id="{D0219A8E-A26A-4C77-A28C-3823EB3254BA}"/>
              </a:ext>
            </a:extLst>
          </p:cNvPr>
          <p:cNvSpPr/>
          <p:nvPr/>
        </p:nvSpPr>
        <p:spPr bwMode="auto">
          <a:xfrm>
            <a:off x="6138200" y="1919759"/>
            <a:ext cx="952389" cy="348045"/>
          </a:xfrm>
          <a:prstGeom prst="rightArrow">
            <a:avLst/>
          </a:prstGeom>
          <a:pattFill prst="wdUpDiag">
            <a:fgClr>
              <a:srgbClr val="92D050"/>
            </a:fgClr>
            <a:bgClr>
              <a:schemeClr val="bg1"/>
            </a:bgClr>
          </a:pattFill>
          <a:ln>
            <a:solidFill>
              <a:schemeClr val="bg1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154"/>
            <a:endParaRPr lang="nb-NO" sz="1800" b="1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3" name="Rektangel 7">
            <a:extLst>
              <a:ext uri="{FF2B5EF4-FFF2-40B4-BE49-F238E27FC236}">
                <a16:creationId xmlns:a16="http://schemas.microsoft.com/office/drawing/2014/main" id="{1EFAC45C-EAC9-4514-9BAF-56B972A8DBA9}"/>
              </a:ext>
            </a:extLst>
          </p:cNvPr>
          <p:cNvSpPr/>
          <p:nvPr/>
        </p:nvSpPr>
        <p:spPr>
          <a:xfrm>
            <a:off x="3448498" y="3875514"/>
            <a:ext cx="3203551" cy="837000"/>
          </a:xfrm>
          <a:prstGeom prst="rect">
            <a:avLst/>
          </a:prstGeom>
          <a:gradFill flip="none" rotWithShape="1">
            <a:gsLst>
              <a:gs pos="50000">
                <a:schemeClr val="accent1"/>
              </a:gs>
              <a:gs pos="0">
                <a:schemeClr val="accent1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154"/>
            <a:r>
              <a:rPr lang="nb-NO" sz="1050">
                <a:solidFill>
                  <a:prstClr val="white"/>
                </a:solidFill>
                <a:latin typeface="Calibri"/>
              </a:rPr>
              <a:t>HR-portalen / PAGA</a:t>
            </a:r>
          </a:p>
        </p:txBody>
      </p:sp>
      <p:sp>
        <p:nvSpPr>
          <p:cNvPr id="39" name="Rektangel 14">
            <a:extLst>
              <a:ext uri="{FF2B5EF4-FFF2-40B4-BE49-F238E27FC236}">
                <a16:creationId xmlns:a16="http://schemas.microsoft.com/office/drawing/2014/main" id="{EA6742D3-FEC7-4478-A4D1-031B0C3938BE}"/>
              </a:ext>
            </a:extLst>
          </p:cNvPr>
          <p:cNvSpPr/>
          <p:nvPr/>
        </p:nvSpPr>
        <p:spPr>
          <a:xfrm>
            <a:off x="6652050" y="3875512"/>
            <a:ext cx="2119108" cy="837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defTabSz="457154"/>
            <a:r>
              <a:rPr lang="nb-NO" sz="1050">
                <a:solidFill>
                  <a:prstClr val="white"/>
                </a:solidFill>
                <a:latin typeface="Calibri"/>
              </a:rPr>
              <a:t>	SAP – DFØ + selvbetjeningsportal</a:t>
            </a:r>
          </a:p>
        </p:txBody>
      </p:sp>
      <p:sp>
        <p:nvSpPr>
          <p:cNvPr id="43" name="Rektangel 17">
            <a:extLst>
              <a:ext uri="{FF2B5EF4-FFF2-40B4-BE49-F238E27FC236}">
                <a16:creationId xmlns:a16="http://schemas.microsoft.com/office/drawing/2014/main" id="{CB71C00E-70D4-4DB3-AA2B-0313C158BEC8}"/>
              </a:ext>
            </a:extLst>
          </p:cNvPr>
          <p:cNvSpPr/>
          <p:nvPr/>
        </p:nvSpPr>
        <p:spPr>
          <a:xfrm>
            <a:off x="326992" y="3839794"/>
            <a:ext cx="3121502" cy="837000"/>
          </a:xfrm>
          <a:prstGeom prst="rect">
            <a:avLst/>
          </a:prstGeom>
          <a:solidFill>
            <a:srgbClr val="01509D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154"/>
            <a:r>
              <a:rPr lang="nb-NO" sz="1050">
                <a:solidFill>
                  <a:prstClr val="white"/>
                </a:solidFill>
                <a:latin typeface="Calibri"/>
              </a:rPr>
              <a:t>Lønn, </a:t>
            </a:r>
            <a:br>
              <a:rPr lang="nb-NO" sz="1050">
                <a:solidFill>
                  <a:prstClr val="white"/>
                </a:solidFill>
                <a:latin typeface="Calibri"/>
              </a:rPr>
            </a:br>
            <a:r>
              <a:rPr lang="nb-NO" sz="1050">
                <a:solidFill>
                  <a:prstClr val="white"/>
                </a:solidFill>
                <a:latin typeface="Calibri"/>
              </a:rPr>
              <a:t>timeføring, </a:t>
            </a:r>
            <a:br>
              <a:rPr lang="nb-NO" sz="1050">
                <a:solidFill>
                  <a:prstClr val="white"/>
                </a:solidFill>
                <a:latin typeface="Calibri"/>
              </a:rPr>
            </a:br>
            <a:r>
              <a:rPr lang="nb-NO" sz="1050">
                <a:solidFill>
                  <a:prstClr val="white"/>
                </a:solidFill>
                <a:latin typeface="Calibri"/>
              </a:rPr>
              <a:t>fravær, </a:t>
            </a:r>
            <a:br>
              <a:rPr lang="nb-NO" sz="1050">
                <a:solidFill>
                  <a:prstClr val="white"/>
                </a:solidFill>
                <a:latin typeface="Calibri"/>
              </a:rPr>
            </a:br>
            <a:r>
              <a:rPr lang="nb-NO" sz="1050">
                <a:solidFill>
                  <a:prstClr val="white"/>
                </a:solidFill>
                <a:latin typeface="Calibri"/>
              </a:rPr>
              <a:t>ferie</a:t>
            </a:r>
          </a:p>
        </p:txBody>
      </p:sp>
      <p:sp>
        <p:nvSpPr>
          <p:cNvPr id="78" name="Arrow: Right 77">
            <a:extLst>
              <a:ext uri="{FF2B5EF4-FFF2-40B4-BE49-F238E27FC236}">
                <a16:creationId xmlns:a16="http://schemas.microsoft.com/office/drawing/2014/main" id="{7565877A-8937-4C6F-B6BE-D91C5E80C90C}"/>
              </a:ext>
            </a:extLst>
          </p:cNvPr>
          <p:cNvSpPr/>
          <p:nvPr/>
        </p:nvSpPr>
        <p:spPr bwMode="auto">
          <a:xfrm>
            <a:off x="6138200" y="4124741"/>
            <a:ext cx="952389" cy="348045"/>
          </a:xfrm>
          <a:prstGeom prst="rightArrow">
            <a:avLst/>
          </a:prstGeom>
          <a:pattFill prst="wdUpDiag">
            <a:fgClr>
              <a:srgbClr val="92D050"/>
            </a:fgClr>
            <a:bgClr>
              <a:schemeClr val="bg1"/>
            </a:bgClr>
          </a:pattFill>
          <a:ln>
            <a:solidFill>
              <a:schemeClr val="bg1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154"/>
            <a:endParaRPr lang="nb-NO" sz="1800" b="1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2" name="Rektangel 4">
            <a:extLst>
              <a:ext uri="{FF2B5EF4-FFF2-40B4-BE49-F238E27FC236}">
                <a16:creationId xmlns:a16="http://schemas.microsoft.com/office/drawing/2014/main" id="{067053EE-2C4B-4F0A-AF5B-126AA5CEC0C2}"/>
              </a:ext>
            </a:extLst>
          </p:cNvPr>
          <p:cNvSpPr/>
          <p:nvPr/>
        </p:nvSpPr>
        <p:spPr>
          <a:xfrm>
            <a:off x="3448498" y="2782167"/>
            <a:ext cx="3203551" cy="837000"/>
          </a:xfrm>
          <a:prstGeom prst="rect">
            <a:avLst/>
          </a:prstGeom>
          <a:gradFill flip="none" rotWithShape="1">
            <a:gsLst>
              <a:gs pos="50000">
                <a:schemeClr val="accent1"/>
              </a:gs>
              <a:gs pos="0">
                <a:schemeClr val="accent1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154"/>
            <a:r>
              <a:rPr lang="nb-NO" sz="1050">
                <a:solidFill>
                  <a:prstClr val="white"/>
                </a:solidFill>
                <a:latin typeface="Calibri"/>
              </a:rPr>
              <a:t>Oracle</a:t>
            </a:r>
          </a:p>
          <a:p>
            <a:pPr defTabSz="457154"/>
            <a:r>
              <a:rPr lang="nb-NO" sz="1050" err="1">
                <a:solidFill>
                  <a:prstClr val="white"/>
                </a:solidFill>
                <a:latin typeface="Calibri"/>
              </a:rPr>
              <a:t>Basware</a:t>
            </a:r>
            <a:r>
              <a:rPr lang="nb-NO" sz="1050">
                <a:solidFill>
                  <a:prstClr val="white"/>
                </a:solidFill>
                <a:latin typeface="Calibri"/>
              </a:rPr>
              <a:t> PM/IP/CM</a:t>
            </a:r>
          </a:p>
          <a:p>
            <a:pPr defTabSz="457154"/>
            <a:r>
              <a:rPr lang="nb-NO" sz="1050" err="1">
                <a:solidFill>
                  <a:prstClr val="white"/>
                </a:solidFill>
                <a:latin typeface="Calibri"/>
              </a:rPr>
              <a:t>Maconomy</a:t>
            </a:r>
            <a:endParaRPr lang="nb-NO" sz="1050">
              <a:solidFill>
                <a:prstClr val="white"/>
              </a:solidFill>
              <a:latin typeface="Calibri"/>
            </a:endParaRPr>
          </a:p>
          <a:p>
            <a:pPr defTabSz="457154"/>
            <a:r>
              <a:rPr lang="nb-NO" sz="1050" err="1">
                <a:solidFill>
                  <a:prstClr val="white"/>
                </a:solidFill>
                <a:latin typeface="Calibri"/>
              </a:rPr>
              <a:t>ResearchPro</a:t>
            </a:r>
            <a:endParaRPr lang="nb-NO" sz="105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8" name="Rektangel 13">
            <a:extLst>
              <a:ext uri="{FF2B5EF4-FFF2-40B4-BE49-F238E27FC236}">
                <a16:creationId xmlns:a16="http://schemas.microsoft.com/office/drawing/2014/main" id="{92433074-3C90-4637-9376-358A48B0930F}"/>
              </a:ext>
            </a:extLst>
          </p:cNvPr>
          <p:cNvSpPr/>
          <p:nvPr/>
        </p:nvSpPr>
        <p:spPr>
          <a:xfrm>
            <a:off x="6652050" y="2782167"/>
            <a:ext cx="2119108" cy="837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defTabSz="457154"/>
            <a:r>
              <a:rPr lang="nb-NO" sz="1050">
                <a:solidFill>
                  <a:prstClr val="white"/>
                </a:solidFill>
                <a:latin typeface="Calibri"/>
              </a:rPr>
              <a:t>	Unit 4 ERP - DFØ</a:t>
            </a:r>
          </a:p>
        </p:txBody>
      </p:sp>
      <p:sp>
        <p:nvSpPr>
          <p:cNvPr id="42" name="Rektangel 16">
            <a:extLst>
              <a:ext uri="{FF2B5EF4-FFF2-40B4-BE49-F238E27FC236}">
                <a16:creationId xmlns:a16="http://schemas.microsoft.com/office/drawing/2014/main" id="{789E1960-7FBF-4205-A656-E2575931BA35}"/>
              </a:ext>
            </a:extLst>
          </p:cNvPr>
          <p:cNvSpPr/>
          <p:nvPr/>
        </p:nvSpPr>
        <p:spPr>
          <a:xfrm>
            <a:off x="326992" y="2746448"/>
            <a:ext cx="3121502" cy="837000"/>
          </a:xfrm>
          <a:prstGeom prst="rect">
            <a:avLst/>
          </a:prstGeom>
          <a:solidFill>
            <a:srgbClr val="01509D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154"/>
            <a:r>
              <a:rPr lang="nb-NO" sz="1050">
                <a:solidFill>
                  <a:prstClr val="white"/>
                </a:solidFill>
                <a:latin typeface="Calibri"/>
              </a:rPr>
              <a:t>Regnskap, </a:t>
            </a:r>
            <a:br>
              <a:rPr lang="nb-NO" sz="1050">
                <a:solidFill>
                  <a:prstClr val="white"/>
                </a:solidFill>
                <a:latin typeface="Calibri"/>
              </a:rPr>
            </a:br>
            <a:r>
              <a:rPr lang="nb-NO" sz="1050">
                <a:solidFill>
                  <a:prstClr val="white"/>
                </a:solidFill>
                <a:latin typeface="Calibri"/>
              </a:rPr>
              <a:t>bestilling, </a:t>
            </a:r>
            <a:br>
              <a:rPr lang="nb-NO" sz="1050">
                <a:solidFill>
                  <a:prstClr val="white"/>
                </a:solidFill>
                <a:latin typeface="Calibri"/>
              </a:rPr>
            </a:br>
            <a:r>
              <a:rPr lang="nb-NO" sz="1050">
                <a:solidFill>
                  <a:prstClr val="white"/>
                </a:solidFill>
                <a:latin typeface="Calibri"/>
              </a:rPr>
              <a:t>prosjekt,</a:t>
            </a:r>
          </a:p>
        </p:txBody>
      </p:sp>
      <p:sp>
        <p:nvSpPr>
          <p:cNvPr id="79" name="Arrow: Right 78">
            <a:extLst>
              <a:ext uri="{FF2B5EF4-FFF2-40B4-BE49-F238E27FC236}">
                <a16:creationId xmlns:a16="http://schemas.microsoft.com/office/drawing/2014/main" id="{4D04558B-79F1-44DD-83B6-14CD62C3C568}"/>
              </a:ext>
            </a:extLst>
          </p:cNvPr>
          <p:cNvSpPr/>
          <p:nvPr/>
        </p:nvSpPr>
        <p:spPr bwMode="auto">
          <a:xfrm>
            <a:off x="6138200" y="3041510"/>
            <a:ext cx="952389" cy="348045"/>
          </a:xfrm>
          <a:prstGeom prst="rightArrow">
            <a:avLst/>
          </a:prstGeom>
          <a:pattFill prst="wdUpDiag">
            <a:fgClr>
              <a:srgbClr val="92D050"/>
            </a:fgClr>
            <a:bgClr>
              <a:schemeClr val="bg1"/>
            </a:bgClr>
          </a:pattFill>
          <a:ln>
            <a:solidFill>
              <a:schemeClr val="bg1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154"/>
            <a:endParaRPr lang="nb-NO" sz="1800" b="1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E3C48161-C21F-7DF8-6E7F-522A6E08501A}"/>
              </a:ext>
            </a:extLst>
          </p:cNvPr>
          <p:cNvSpPr txBox="1">
            <a:spLocks/>
          </p:cNvSpPr>
          <p:nvPr/>
        </p:nvSpPr>
        <p:spPr>
          <a:xfrm>
            <a:off x="288398" y="25578"/>
            <a:ext cx="8418747" cy="1110177"/>
          </a:xfrm>
          <a:prstGeom prst="rect">
            <a:avLst/>
          </a:prstGeom>
        </p:spPr>
        <p:txBody>
          <a:bodyPr vert="horz" lIns="91440" tIns="45720" rIns="91440" bIns="45720" anchor="t"/>
          <a:lstStyle>
            <a:lvl1pPr algn="l" defTabSz="457178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algn="ctr">
              <a:spcBef>
                <a:spcPct val="20000"/>
              </a:spcBef>
            </a:pPr>
            <a:r>
              <a:rPr lang="nb-NO">
                <a:solidFill>
                  <a:schemeClr val="tx2"/>
                </a:solidFill>
              </a:rPr>
              <a:t>Hva fører BOTT ØL med seg?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984885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5FD3C8-9491-4823-8333-44B69CC483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nb-NO"/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94C2FC-6200-440B-85E5-FF627608D03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52488" y="3602725"/>
            <a:ext cx="6435960" cy="1628238"/>
          </a:xfrm>
        </p:spPr>
        <p:txBody>
          <a:bodyPr>
            <a:normAutofit/>
          </a:bodyPr>
          <a:lstStyle/>
          <a:p>
            <a:pPr lvl="1"/>
            <a:endParaRPr lang="nb-NO"/>
          </a:p>
          <a:p>
            <a:endParaRPr lang="nb-NO"/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9CEC64A9-177F-4F35-BFC9-924D072343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95227708"/>
              </p:ext>
            </p:extLst>
          </p:nvPr>
        </p:nvGraphicFramePr>
        <p:xfrm>
          <a:off x="409650" y="994346"/>
          <a:ext cx="6181967" cy="375399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181967">
                  <a:extLst>
                    <a:ext uri="{9D8B030D-6E8A-4147-A177-3AD203B41FA5}">
                      <a16:colId xmlns:a16="http://schemas.microsoft.com/office/drawing/2014/main" val="3031343381"/>
                    </a:ext>
                  </a:extLst>
                </a:gridCol>
              </a:tblGrid>
              <a:tr h="318298">
                <a:tc>
                  <a:txBody>
                    <a:bodyPr/>
                    <a:lstStyle/>
                    <a:p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Velkommen </a:t>
                      </a:r>
                    </a:p>
                    <a:p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nb-NO" sz="1600" i="1">
                          <a:solidFill>
                            <a:schemeClr val="tx1"/>
                          </a:solidFill>
                        </a:rPr>
                        <a:t>- Mål for møtet </a:t>
                      </a:r>
                    </a:p>
                    <a:p>
                      <a:r>
                        <a:rPr lang="nb-NO" sz="1600" i="1">
                          <a:solidFill>
                            <a:schemeClr val="tx1"/>
                          </a:solidFill>
                        </a:rPr>
                        <a:t> - Hvorfor BOTT ØL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7356267"/>
                  </a:ext>
                </a:extLst>
              </a:tr>
              <a:tr h="489216">
                <a:tc>
                  <a:txBody>
                    <a:bodyPr/>
                    <a:lstStyle/>
                    <a:p>
                      <a:r>
                        <a:rPr lang="nb-NO" sz="1600">
                          <a:solidFill>
                            <a:schemeClr val="bg1"/>
                          </a:solidFill>
                        </a:rPr>
                        <a:t>Introduksjon til Btb-prosessen 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nb-NO" sz="1600" i="1">
                          <a:solidFill>
                            <a:schemeClr val="bg1"/>
                          </a:solidFill>
                        </a:rPr>
                        <a:t>Hovedflyt i prosessen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nb-NO" sz="1600" i="1">
                          <a:solidFill>
                            <a:schemeClr val="bg1"/>
                          </a:solidFill>
                        </a:rPr>
                        <a:t>Roller 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nb-NO" sz="1600" i="1">
                          <a:solidFill>
                            <a:schemeClr val="bg1"/>
                          </a:solidFill>
                        </a:rPr>
                        <a:t>Hovedendringer fra slik mange kjenner prosessen i dag </a:t>
                      </a:r>
                    </a:p>
                  </a:txBody>
                  <a:tcPr>
                    <a:solidFill>
                      <a:srgbClr val="0D34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0165729"/>
                  </a:ext>
                </a:extLst>
              </a:tr>
              <a:tr h="489216">
                <a:tc>
                  <a:txBody>
                    <a:bodyPr/>
                    <a:lstStyle/>
                    <a:p>
                      <a:r>
                        <a:rPr lang="nb-NO" sz="1600"/>
                        <a:t>Informasjon om opplæring </a:t>
                      </a:r>
                    </a:p>
                    <a:p>
                      <a:r>
                        <a:rPr lang="nb-NO" sz="1600" i="1"/>
                        <a:t> - Struktur for opplæringsløp</a:t>
                      </a:r>
                    </a:p>
                    <a:p>
                      <a:r>
                        <a:rPr lang="nb-NO" sz="1600" i="1"/>
                        <a:t> - Praktisk info om opplæring</a:t>
                      </a:r>
                    </a:p>
                    <a:p>
                      <a:r>
                        <a:rPr lang="nb-NO" sz="1600" i="1"/>
                        <a:t> - Opplæring for roller i </a:t>
                      </a:r>
                      <a:r>
                        <a:rPr lang="nb-NO" sz="1600" i="1" err="1"/>
                        <a:t>BtB</a:t>
                      </a:r>
                      <a:r>
                        <a:rPr lang="nb-NO" sz="1600" i="1"/>
                        <a:t>-prosess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79177042"/>
                  </a:ext>
                </a:extLst>
              </a:tr>
              <a:tr h="398719">
                <a:tc>
                  <a:txBody>
                    <a:bodyPr/>
                    <a:lstStyle/>
                    <a:p>
                      <a:r>
                        <a:rPr lang="nb-NO" sz="1600"/>
                        <a:t>Hvor kan du finne mer informasjon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59807107"/>
                  </a:ext>
                </a:extLst>
              </a:tr>
              <a:tr h="398719">
                <a:tc>
                  <a:txBody>
                    <a:bodyPr/>
                    <a:lstStyle/>
                    <a:p>
                      <a:r>
                        <a:rPr lang="nb-NO" sz="1600"/>
                        <a:t>Spørsmål og svar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4224163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6453260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D70F9FB-5F20-441C-8897-867FBE816DF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0976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D70F9FB-5F20-441C-8897-867FBE816D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6378539-3F38-4D32-842A-D187FA5FB7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573" y="205979"/>
            <a:ext cx="8381997" cy="707886"/>
          </a:xfrm>
        </p:spPr>
        <p:txBody>
          <a:bodyPr vert="horz"/>
          <a:lstStyle/>
          <a:p>
            <a:r>
              <a:rPr lang="nb-NO" sz="2000"/>
              <a:t>Intro til </a:t>
            </a:r>
            <a:r>
              <a:rPr lang="nb-NO" sz="2000" err="1"/>
              <a:t>btb</a:t>
            </a:r>
            <a:r>
              <a:rPr lang="nb-NO" sz="2000"/>
              <a:t>-prosessen: Prosessflyt - Opprettelse av innkjøpeforespørsel og varemottak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252D9ED-9F28-492E-86D7-7E4CE6F54C73}"/>
              </a:ext>
            </a:extLst>
          </p:cNvPr>
          <p:cNvGrpSpPr/>
          <p:nvPr/>
        </p:nvGrpSpPr>
        <p:grpSpPr>
          <a:xfrm>
            <a:off x="5877357" y="1877158"/>
            <a:ext cx="1080259" cy="1140599"/>
            <a:chOff x="3467100" y="1822704"/>
            <a:chExt cx="1417447" cy="1481455"/>
          </a:xfrm>
        </p:grpSpPr>
        <p:sp>
          <p:nvSpPr>
            <p:cNvPr id="93" name="object 17">
              <a:extLst>
                <a:ext uri="{FF2B5EF4-FFF2-40B4-BE49-F238E27FC236}">
                  <a16:creationId xmlns:a16="http://schemas.microsoft.com/office/drawing/2014/main" id="{4606D1BC-8B67-402C-808E-F84CC1E8C88F}"/>
                </a:ext>
              </a:extLst>
            </p:cNvPr>
            <p:cNvSpPr/>
            <p:nvPr/>
          </p:nvSpPr>
          <p:spPr>
            <a:xfrm>
              <a:off x="3550284" y="1898904"/>
              <a:ext cx="1259840" cy="1405255"/>
            </a:xfrm>
            <a:custGeom>
              <a:avLst/>
              <a:gdLst/>
              <a:ahLst/>
              <a:cxnLst/>
              <a:rect l="l" t="t" r="r" b="b"/>
              <a:pathLst>
                <a:path w="1259839" h="1405254">
                  <a:moveTo>
                    <a:pt x="556132" y="0"/>
                  </a:moveTo>
                  <a:lnTo>
                    <a:pt x="604293" y="1620"/>
                  </a:lnTo>
                  <a:lnTo>
                    <a:pt x="651582" y="6414"/>
                  </a:lnTo>
                  <a:lnTo>
                    <a:pt x="697894" y="14274"/>
                  </a:lnTo>
                  <a:lnTo>
                    <a:pt x="743124" y="25098"/>
                  </a:lnTo>
                  <a:lnTo>
                    <a:pt x="787169" y="38780"/>
                  </a:lnTo>
                  <a:lnTo>
                    <a:pt x="829923" y="55215"/>
                  </a:lnTo>
                  <a:lnTo>
                    <a:pt x="871281" y="74299"/>
                  </a:lnTo>
                  <a:lnTo>
                    <a:pt x="911140" y="95927"/>
                  </a:lnTo>
                  <a:lnTo>
                    <a:pt x="949394" y="119994"/>
                  </a:lnTo>
                  <a:lnTo>
                    <a:pt x="985938" y="146397"/>
                  </a:lnTo>
                  <a:lnTo>
                    <a:pt x="1020669" y="175029"/>
                  </a:lnTo>
                  <a:lnTo>
                    <a:pt x="1053480" y="205787"/>
                  </a:lnTo>
                  <a:lnTo>
                    <a:pt x="1084269" y="238566"/>
                  </a:lnTo>
                  <a:lnTo>
                    <a:pt x="1112929" y="273261"/>
                  </a:lnTo>
                  <a:lnTo>
                    <a:pt x="1139356" y="309767"/>
                  </a:lnTo>
                  <a:lnTo>
                    <a:pt x="1163447" y="347980"/>
                  </a:lnTo>
                  <a:lnTo>
                    <a:pt x="1185094" y="387794"/>
                  </a:lnTo>
                  <a:lnTo>
                    <a:pt x="1204196" y="429107"/>
                  </a:lnTo>
                  <a:lnTo>
                    <a:pt x="1220645" y="471812"/>
                  </a:lnTo>
                  <a:lnTo>
                    <a:pt x="1234339" y="515805"/>
                  </a:lnTo>
                  <a:lnTo>
                    <a:pt x="1245172" y="560981"/>
                  </a:lnTo>
                  <a:lnTo>
                    <a:pt x="1253039" y="607236"/>
                  </a:lnTo>
                  <a:lnTo>
                    <a:pt x="1257836" y="654465"/>
                  </a:lnTo>
                  <a:lnTo>
                    <a:pt x="1259459" y="702563"/>
                  </a:lnTo>
                  <a:lnTo>
                    <a:pt x="1257836" y="750662"/>
                  </a:lnTo>
                  <a:lnTo>
                    <a:pt x="1253039" y="797891"/>
                  </a:lnTo>
                  <a:lnTo>
                    <a:pt x="1245172" y="844146"/>
                  </a:lnTo>
                  <a:lnTo>
                    <a:pt x="1234339" y="889322"/>
                  </a:lnTo>
                  <a:lnTo>
                    <a:pt x="1220645" y="933315"/>
                  </a:lnTo>
                  <a:lnTo>
                    <a:pt x="1204196" y="976020"/>
                  </a:lnTo>
                  <a:lnTo>
                    <a:pt x="1185094" y="1017333"/>
                  </a:lnTo>
                  <a:lnTo>
                    <a:pt x="1163447" y="1057147"/>
                  </a:lnTo>
                  <a:lnTo>
                    <a:pt x="1139356" y="1095360"/>
                  </a:lnTo>
                  <a:lnTo>
                    <a:pt x="1112929" y="1131866"/>
                  </a:lnTo>
                  <a:lnTo>
                    <a:pt x="1084269" y="1166561"/>
                  </a:lnTo>
                  <a:lnTo>
                    <a:pt x="1053480" y="1199340"/>
                  </a:lnTo>
                  <a:lnTo>
                    <a:pt x="1020669" y="1230098"/>
                  </a:lnTo>
                  <a:lnTo>
                    <a:pt x="985938" y="1258730"/>
                  </a:lnTo>
                  <a:lnTo>
                    <a:pt x="949394" y="1285133"/>
                  </a:lnTo>
                  <a:lnTo>
                    <a:pt x="911140" y="1309200"/>
                  </a:lnTo>
                  <a:lnTo>
                    <a:pt x="871281" y="1330828"/>
                  </a:lnTo>
                  <a:lnTo>
                    <a:pt x="829923" y="1349912"/>
                  </a:lnTo>
                  <a:lnTo>
                    <a:pt x="787169" y="1366347"/>
                  </a:lnTo>
                  <a:lnTo>
                    <a:pt x="743124" y="1380029"/>
                  </a:lnTo>
                  <a:lnTo>
                    <a:pt x="697894" y="1390853"/>
                  </a:lnTo>
                  <a:lnTo>
                    <a:pt x="651582" y="1398713"/>
                  </a:lnTo>
                  <a:lnTo>
                    <a:pt x="604293" y="1403507"/>
                  </a:lnTo>
                  <a:lnTo>
                    <a:pt x="556132" y="1405128"/>
                  </a:lnTo>
                  <a:lnTo>
                    <a:pt x="506172" y="1403355"/>
                  </a:lnTo>
                  <a:lnTo>
                    <a:pt x="456808" y="1398092"/>
                  </a:lnTo>
                  <a:lnTo>
                    <a:pt x="408205" y="1389418"/>
                  </a:lnTo>
                  <a:lnTo>
                    <a:pt x="360525" y="1377414"/>
                  </a:lnTo>
                  <a:lnTo>
                    <a:pt x="313933" y="1362159"/>
                  </a:lnTo>
                  <a:lnTo>
                    <a:pt x="268593" y="1343733"/>
                  </a:lnTo>
                  <a:lnTo>
                    <a:pt x="224667" y="1322217"/>
                  </a:lnTo>
                  <a:lnTo>
                    <a:pt x="182321" y="1297691"/>
                  </a:lnTo>
                  <a:lnTo>
                    <a:pt x="141717" y="1270235"/>
                  </a:lnTo>
                  <a:lnTo>
                    <a:pt x="103019" y="1239929"/>
                  </a:lnTo>
                  <a:lnTo>
                    <a:pt x="66391" y="1206853"/>
                  </a:lnTo>
                  <a:lnTo>
                    <a:pt x="31997" y="1171088"/>
                  </a:lnTo>
                  <a:lnTo>
                    <a:pt x="0" y="1132713"/>
                  </a:lnTo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94" name="object 18">
              <a:extLst>
                <a:ext uri="{FF2B5EF4-FFF2-40B4-BE49-F238E27FC236}">
                  <a16:creationId xmlns:a16="http://schemas.microsoft.com/office/drawing/2014/main" id="{39D84A9D-EAEA-4340-A3C3-C21E208CFB7E}"/>
                </a:ext>
              </a:extLst>
            </p:cNvPr>
            <p:cNvSpPr/>
            <p:nvPr/>
          </p:nvSpPr>
          <p:spPr>
            <a:xfrm>
              <a:off x="3467100" y="1962911"/>
              <a:ext cx="1278890" cy="1277620"/>
            </a:xfrm>
            <a:custGeom>
              <a:avLst/>
              <a:gdLst/>
              <a:ahLst/>
              <a:cxnLst/>
              <a:rect l="l" t="t" r="r" b="b"/>
              <a:pathLst>
                <a:path w="1278889" h="1277620">
                  <a:moveTo>
                    <a:pt x="639317" y="0"/>
                  </a:moveTo>
                  <a:lnTo>
                    <a:pt x="687027" y="1751"/>
                  </a:lnTo>
                  <a:lnTo>
                    <a:pt x="733785" y="6923"/>
                  </a:lnTo>
                  <a:lnTo>
                    <a:pt x="779468" y="15392"/>
                  </a:lnTo>
                  <a:lnTo>
                    <a:pt x="823952" y="27034"/>
                  </a:lnTo>
                  <a:lnTo>
                    <a:pt x="867112" y="41727"/>
                  </a:lnTo>
                  <a:lnTo>
                    <a:pt x="908827" y="59346"/>
                  </a:lnTo>
                  <a:lnTo>
                    <a:pt x="948971" y="79769"/>
                  </a:lnTo>
                  <a:lnTo>
                    <a:pt x="987422" y="102871"/>
                  </a:lnTo>
                  <a:lnTo>
                    <a:pt x="1024055" y="128530"/>
                  </a:lnTo>
                  <a:lnTo>
                    <a:pt x="1058747" y="156622"/>
                  </a:lnTo>
                  <a:lnTo>
                    <a:pt x="1091374" y="187023"/>
                  </a:lnTo>
                  <a:lnTo>
                    <a:pt x="1121813" y="219610"/>
                  </a:lnTo>
                  <a:lnTo>
                    <a:pt x="1149940" y="254260"/>
                  </a:lnTo>
                  <a:lnTo>
                    <a:pt x="1175631" y="290849"/>
                  </a:lnTo>
                  <a:lnTo>
                    <a:pt x="1198763" y="329253"/>
                  </a:lnTo>
                  <a:lnTo>
                    <a:pt x="1219212" y="369350"/>
                  </a:lnTo>
                  <a:lnTo>
                    <a:pt x="1236854" y="411016"/>
                  </a:lnTo>
                  <a:lnTo>
                    <a:pt x="1251565" y="454127"/>
                  </a:lnTo>
                  <a:lnTo>
                    <a:pt x="1263223" y="498560"/>
                  </a:lnTo>
                  <a:lnTo>
                    <a:pt x="1271703" y="544191"/>
                  </a:lnTo>
                  <a:lnTo>
                    <a:pt x="1276882" y="590898"/>
                  </a:lnTo>
                  <a:lnTo>
                    <a:pt x="1278636" y="638555"/>
                  </a:lnTo>
                  <a:lnTo>
                    <a:pt x="1276882" y="686213"/>
                  </a:lnTo>
                  <a:lnTo>
                    <a:pt x="1271703" y="732920"/>
                  </a:lnTo>
                  <a:lnTo>
                    <a:pt x="1263223" y="778551"/>
                  </a:lnTo>
                  <a:lnTo>
                    <a:pt x="1251565" y="822984"/>
                  </a:lnTo>
                  <a:lnTo>
                    <a:pt x="1236854" y="866095"/>
                  </a:lnTo>
                  <a:lnTo>
                    <a:pt x="1219212" y="907761"/>
                  </a:lnTo>
                  <a:lnTo>
                    <a:pt x="1198763" y="947858"/>
                  </a:lnTo>
                  <a:lnTo>
                    <a:pt x="1175631" y="986262"/>
                  </a:lnTo>
                  <a:lnTo>
                    <a:pt x="1149940" y="1022851"/>
                  </a:lnTo>
                  <a:lnTo>
                    <a:pt x="1121813" y="1057501"/>
                  </a:lnTo>
                  <a:lnTo>
                    <a:pt x="1091374" y="1090088"/>
                  </a:lnTo>
                  <a:lnTo>
                    <a:pt x="1058747" y="1120489"/>
                  </a:lnTo>
                  <a:lnTo>
                    <a:pt x="1024055" y="1148581"/>
                  </a:lnTo>
                  <a:lnTo>
                    <a:pt x="987422" y="1174240"/>
                  </a:lnTo>
                  <a:lnTo>
                    <a:pt x="948971" y="1197342"/>
                  </a:lnTo>
                  <a:lnTo>
                    <a:pt x="908827" y="1217765"/>
                  </a:lnTo>
                  <a:lnTo>
                    <a:pt x="867112" y="1235384"/>
                  </a:lnTo>
                  <a:lnTo>
                    <a:pt x="823952" y="1250077"/>
                  </a:lnTo>
                  <a:lnTo>
                    <a:pt x="779468" y="1261719"/>
                  </a:lnTo>
                  <a:lnTo>
                    <a:pt x="733785" y="1270188"/>
                  </a:lnTo>
                  <a:lnTo>
                    <a:pt x="687027" y="1275360"/>
                  </a:lnTo>
                  <a:lnTo>
                    <a:pt x="639317" y="1277112"/>
                  </a:lnTo>
                  <a:lnTo>
                    <a:pt x="591608" y="1275360"/>
                  </a:lnTo>
                  <a:lnTo>
                    <a:pt x="544850" y="1270188"/>
                  </a:lnTo>
                  <a:lnTo>
                    <a:pt x="499167" y="1261719"/>
                  </a:lnTo>
                  <a:lnTo>
                    <a:pt x="454683" y="1250077"/>
                  </a:lnTo>
                  <a:lnTo>
                    <a:pt x="411523" y="1235384"/>
                  </a:lnTo>
                  <a:lnTo>
                    <a:pt x="369808" y="1217765"/>
                  </a:lnTo>
                  <a:lnTo>
                    <a:pt x="329664" y="1197342"/>
                  </a:lnTo>
                  <a:lnTo>
                    <a:pt x="291213" y="1174240"/>
                  </a:lnTo>
                  <a:lnTo>
                    <a:pt x="254580" y="1148581"/>
                  </a:lnTo>
                  <a:lnTo>
                    <a:pt x="219888" y="1120489"/>
                  </a:lnTo>
                  <a:lnTo>
                    <a:pt x="187261" y="1090088"/>
                  </a:lnTo>
                  <a:lnTo>
                    <a:pt x="156822" y="1057501"/>
                  </a:lnTo>
                  <a:lnTo>
                    <a:pt x="128695" y="1022851"/>
                  </a:lnTo>
                  <a:lnTo>
                    <a:pt x="103004" y="986262"/>
                  </a:lnTo>
                  <a:lnTo>
                    <a:pt x="79872" y="947858"/>
                  </a:lnTo>
                  <a:lnTo>
                    <a:pt x="59423" y="907761"/>
                  </a:lnTo>
                  <a:lnTo>
                    <a:pt x="41781" y="866095"/>
                  </a:lnTo>
                  <a:lnTo>
                    <a:pt x="27070" y="822984"/>
                  </a:lnTo>
                  <a:lnTo>
                    <a:pt x="15412" y="778551"/>
                  </a:lnTo>
                  <a:lnTo>
                    <a:pt x="6932" y="732920"/>
                  </a:lnTo>
                  <a:lnTo>
                    <a:pt x="1753" y="686213"/>
                  </a:lnTo>
                  <a:lnTo>
                    <a:pt x="0" y="638555"/>
                  </a:lnTo>
                  <a:lnTo>
                    <a:pt x="2217" y="585401"/>
                  </a:lnTo>
                  <a:lnTo>
                    <a:pt x="8812" y="532886"/>
                  </a:lnTo>
                  <a:lnTo>
                    <a:pt x="19696" y="481266"/>
                  </a:lnTo>
                  <a:lnTo>
                    <a:pt x="34782" y="430799"/>
                  </a:lnTo>
                  <a:lnTo>
                    <a:pt x="53981" y="381744"/>
                  </a:lnTo>
                  <a:lnTo>
                    <a:pt x="77206" y="334357"/>
                  </a:lnTo>
                  <a:lnTo>
                    <a:pt x="104368" y="288895"/>
                  </a:lnTo>
                  <a:lnTo>
                    <a:pt x="135382" y="245617"/>
                  </a:lnTo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95" name="object 19">
              <a:extLst>
                <a:ext uri="{FF2B5EF4-FFF2-40B4-BE49-F238E27FC236}">
                  <a16:creationId xmlns:a16="http://schemas.microsoft.com/office/drawing/2014/main" id="{FA93E059-D73A-4DEB-A86E-EA5CEE7502DE}"/>
                </a:ext>
              </a:extLst>
            </p:cNvPr>
            <p:cNvSpPr/>
            <p:nvPr/>
          </p:nvSpPr>
          <p:spPr>
            <a:xfrm>
              <a:off x="4111752" y="1822704"/>
              <a:ext cx="772795" cy="1082675"/>
            </a:xfrm>
            <a:custGeom>
              <a:avLst/>
              <a:gdLst/>
              <a:ahLst/>
              <a:cxnLst/>
              <a:rect l="l" t="t" r="r" b="b"/>
              <a:pathLst>
                <a:path w="772795" h="1082675">
                  <a:moveTo>
                    <a:pt x="0" y="0"/>
                  </a:moveTo>
                  <a:lnTo>
                    <a:pt x="48863" y="1521"/>
                  </a:lnTo>
                  <a:lnTo>
                    <a:pt x="96919" y="6026"/>
                  </a:lnTo>
                  <a:lnTo>
                    <a:pt x="144077" y="13424"/>
                  </a:lnTo>
                  <a:lnTo>
                    <a:pt x="190246" y="23624"/>
                  </a:lnTo>
                  <a:lnTo>
                    <a:pt x="235337" y="36535"/>
                  </a:lnTo>
                  <a:lnTo>
                    <a:pt x="279258" y="52067"/>
                  </a:lnTo>
                  <a:lnTo>
                    <a:pt x="321919" y="70128"/>
                  </a:lnTo>
                  <a:lnTo>
                    <a:pt x="363229" y="90629"/>
                  </a:lnTo>
                  <a:lnTo>
                    <a:pt x="403098" y="113479"/>
                  </a:lnTo>
                  <a:lnTo>
                    <a:pt x="441436" y="138587"/>
                  </a:lnTo>
                  <a:lnTo>
                    <a:pt x="478151" y="165862"/>
                  </a:lnTo>
                  <a:lnTo>
                    <a:pt x="513154" y="195214"/>
                  </a:lnTo>
                  <a:lnTo>
                    <a:pt x="546354" y="226552"/>
                  </a:lnTo>
                  <a:lnTo>
                    <a:pt x="577659" y="259785"/>
                  </a:lnTo>
                  <a:lnTo>
                    <a:pt x="606981" y="294823"/>
                  </a:lnTo>
                  <a:lnTo>
                    <a:pt x="634228" y="331575"/>
                  </a:lnTo>
                  <a:lnTo>
                    <a:pt x="659309" y="369951"/>
                  </a:lnTo>
                  <a:lnTo>
                    <a:pt x="682135" y="409859"/>
                  </a:lnTo>
                  <a:lnTo>
                    <a:pt x="702614" y="451210"/>
                  </a:lnTo>
                  <a:lnTo>
                    <a:pt x="720657" y="493912"/>
                  </a:lnTo>
                  <a:lnTo>
                    <a:pt x="736172" y="537875"/>
                  </a:lnTo>
                  <a:lnTo>
                    <a:pt x="749069" y="583008"/>
                  </a:lnTo>
                  <a:lnTo>
                    <a:pt x="759257" y="629221"/>
                  </a:lnTo>
                  <a:lnTo>
                    <a:pt x="766647" y="676422"/>
                  </a:lnTo>
                  <a:lnTo>
                    <a:pt x="771147" y="724522"/>
                  </a:lnTo>
                  <a:lnTo>
                    <a:pt x="772668" y="773430"/>
                  </a:lnTo>
                  <a:lnTo>
                    <a:pt x="770853" y="826453"/>
                  </a:lnTo>
                  <a:lnTo>
                    <a:pt x="765433" y="879103"/>
                  </a:lnTo>
                  <a:lnTo>
                    <a:pt x="756443" y="931195"/>
                  </a:lnTo>
                  <a:lnTo>
                    <a:pt x="743918" y="982547"/>
                  </a:lnTo>
                  <a:lnTo>
                    <a:pt x="727894" y="1032974"/>
                  </a:lnTo>
                  <a:lnTo>
                    <a:pt x="708406" y="1082294"/>
                  </a:lnTo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96" name="object 40">
              <a:extLst>
                <a:ext uri="{FF2B5EF4-FFF2-40B4-BE49-F238E27FC236}">
                  <a16:creationId xmlns:a16="http://schemas.microsoft.com/office/drawing/2014/main" id="{5EB1EC92-DA5C-4D25-88D9-1F3DC9603D19}"/>
                </a:ext>
              </a:extLst>
            </p:cNvPr>
            <p:cNvSpPr/>
            <p:nvPr/>
          </p:nvSpPr>
          <p:spPr>
            <a:xfrm>
              <a:off x="3547109" y="2032254"/>
              <a:ext cx="1130935" cy="1130935"/>
            </a:xfrm>
            <a:custGeom>
              <a:avLst/>
              <a:gdLst/>
              <a:ahLst/>
              <a:cxnLst/>
              <a:rect l="l" t="t" r="r" b="b"/>
              <a:pathLst>
                <a:path w="1130935" h="1130935">
                  <a:moveTo>
                    <a:pt x="565403" y="0"/>
                  </a:moveTo>
                  <a:lnTo>
                    <a:pt x="516614" y="2075"/>
                  </a:lnTo>
                  <a:lnTo>
                    <a:pt x="468978" y="8187"/>
                  </a:lnTo>
                  <a:lnTo>
                    <a:pt x="422665" y="18167"/>
                  </a:lnTo>
                  <a:lnTo>
                    <a:pt x="377844" y="31845"/>
                  </a:lnTo>
                  <a:lnTo>
                    <a:pt x="334686" y="49051"/>
                  </a:lnTo>
                  <a:lnTo>
                    <a:pt x="293360" y="69615"/>
                  </a:lnTo>
                  <a:lnTo>
                    <a:pt x="254034" y="93369"/>
                  </a:lnTo>
                  <a:lnTo>
                    <a:pt x="216881" y="120142"/>
                  </a:lnTo>
                  <a:lnTo>
                    <a:pt x="182067" y="149765"/>
                  </a:lnTo>
                  <a:lnTo>
                    <a:pt x="149765" y="182067"/>
                  </a:lnTo>
                  <a:lnTo>
                    <a:pt x="120142" y="216881"/>
                  </a:lnTo>
                  <a:lnTo>
                    <a:pt x="93369" y="254034"/>
                  </a:lnTo>
                  <a:lnTo>
                    <a:pt x="69615" y="293360"/>
                  </a:lnTo>
                  <a:lnTo>
                    <a:pt x="49051" y="334686"/>
                  </a:lnTo>
                  <a:lnTo>
                    <a:pt x="31845" y="377844"/>
                  </a:lnTo>
                  <a:lnTo>
                    <a:pt x="18167" y="422665"/>
                  </a:lnTo>
                  <a:lnTo>
                    <a:pt x="8187" y="468978"/>
                  </a:lnTo>
                  <a:lnTo>
                    <a:pt x="2075" y="516614"/>
                  </a:lnTo>
                  <a:lnTo>
                    <a:pt x="0" y="565404"/>
                  </a:lnTo>
                  <a:lnTo>
                    <a:pt x="2075" y="614193"/>
                  </a:lnTo>
                  <a:lnTo>
                    <a:pt x="8187" y="661829"/>
                  </a:lnTo>
                  <a:lnTo>
                    <a:pt x="18167" y="708142"/>
                  </a:lnTo>
                  <a:lnTo>
                    <a:pt x="31845" y="752963"/>
                  </a:lnTo>
                  <a:lnTo>
                    <a:pt x="49051" y="796121"/>
                  </a:lnTo>
                  <a:lnTo>
                    <a:pt x="69615" y="837447"/>
                  </a:lnTo>
                  <a:lnTo>
                    <a:pt x="93369" y="876773"/>
                  </a:lnTo>
                  <a:lnTo>
                    <a:pt x="120142" y="913926"/>
                  </a:lnTo>
                  <a:lnTo>
                    <a:pt x="149765" y="948740"/>
                  </a:lnTo>
                  <a:lnTo>
                    <a:pt x="182067" y="981042"/>
                  </a:lnTo>
                  <a:lnTo>
                    <a:pt x="216881" y="1010665"/>
                  </a:lnTo>
                  <a:lnTo>
                    <a:pt x="254034" y="1037438"/>
                  </a:lnTo>
                  <a:lnTo>
                    <a:pt x="293360" y="1061192"/>
                  </a:lnTo>
                  <a:lnTo>
                    <a:pt x="334686" y="1081756"/>
                  </a:lnTo>
                  <a:lnTo>
                    <a:pt x="377844" y="1098962"/>
                  </a:lnTo>
                  <a:lnTo>
                    <a:pt x="422665" y="1112640"/>
                  </a:lnTo>
                  <a:lnTo>
                    <a:pt x="468978" y="1122620"/>
                  </a:lnTo>
                  <a:lnTo>
                    <a:pt x="516614" y="1128732"/>
                  </a:lnTo>
                  <a:lnTo>
                    <a:pt x="565403" y="1130808"/>
                  </a:lnTo>
                  <a:lnTo>
                    <a:pt x="614193" y="1128732"/>
                  </a:lnTo>
                  <a:lnTo>
                    <a:pt x="661829" y="1122620"/>
                  </a:lnTo>
                  <a:lnTo>
                    <a:pt x="708142" y="1112640"/>
                  </a:lnTo>
                  <a:lnTo>
                    <a:pt x="752963" y="1098962"/>
                  </a:lnTo>
                  <a:lnTo>
                    <a:pt x="796121" y="1081756"/>
                  </a:lnTo>
                  <a:lnTo>
                    <a:pt x="837447" y="1061192"/>
                  </a:lnTo>
                  <a:lnTo>
                    <a:pt x="876773" y="1037438"/>
                  </a:lnTo>
                  <a:lnTo>
                    <a:pt x="913926" y="1010665"/>
                  </a:lnTo>
                  <a:lnTo>
                    <a:pt x="948740" y="981042"/>
                  </a:lnTo>
                  <a:lnTo>
                    <a:pt x="981042" y="948740"/>
                  </a:lnTo>
                  <a:lnTo>
                    <a:pt x="1010665" y="913926"/>
                  </a:lnTo>
                  <a:lnTo>
                    <a:pt x="1037438" y="876773"/>
                  </a:lnTo>
                  <a:lnTo>
                    <a:pt x="1061192" y="837447"/>
                  </a:lnTo>
                  <a:lnTo>
                    <a:pt x="1081756" y="796121"/>
                  </a:lnTo>
                  <a:lnTo>
                    <a:pt x="1098962" y="752963"/>
                  </a:lnTo>
                  <a:lnTo>
                    <a:pt x="1112640" y="708142"/>
                  </a:lnTo>
                  <a:lnTo>
                    <a:pt x="1122620" y="661829"/>
                  </a:lnTo>
                  <a:lnTo>
                    <a:pt x="1128732" y="614193"/>
                  </a:lnTo>
                  <a:lnTo>
                    <a:pt x="1130807" y="565404"/>
                  </a:lnTo>
                  <a:lnTo>
                    <a:pt x="1128732" y="516614"/>
                  </a:lnTo>
                  <a:lnTo>
                    <a:pt x="1122620" y="468978"/>
                  </a:lnTo>
                  <a:lnTo>
                    <a:pt x="1112640" y="422665"/>
                  </a:lnTo>
                  <a:lnTo>
                    <a:pt x="1098962" y="377844"/>
                  </a:lnTo>
                  <a:lnTo>
                    <a:pt x="1081756" y="334686"/>
                  </a:lnTo>
                  <a:lnTo>
                    <a:pt x="1061192" y="293360"/>
                  </a:lnTo>
                  <a:lnTo>
                    <a:pt x="1037438" y="254034"/>
                  </a:lnTo>
                  <a:lnTo>
                    <a:pt x="1010665" y="216881"/>
                  </a:lnTo>
                  <a:lnTo>
                    <a:pt x="981042" y="182067"/>
                  </a:lnTo>
                  <a:lnTo>
                    <a:pt x="948740" y="149765"/>
                  </a:lnTo>
                  <a:lnTo>
                    <a:pt x="913926" y="120142"/>
                  </a:lnTo>
                  <a:lnTo>
                    <a:pt x="876773" y="93369"/>
                  </a:lnTo>
                  <a:lnTo>
                    <a:pt x="837447" y="69615"/>
                  </a:lnTo>
                  <a:lnTo>
                    <a:pt x="796121" y="49051"/>
                  </a:lnTo>
                  <a:lnTo>
                    <a:pt x="752963" y="31845"/>
                  </a:lnTo>
                  <a:lnTo>
                    <a:pt x="708142" y="18167"/>
                  </a:lnTo>
                  <a:lnTo>
                    <a:pt x="661829" y="8187"/>
                  </a:lnTo>
                  <a:lnTo>
                    <a:pt x="614193" y="2075"/>
                  </a:lnTo>
                  <a:lnTo>
                    <a:pt x="565403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97" name="object 41">
              <a:extLst>
                <a:ext uri="{FF2B5EF4-FFF2-40B4-BE49-F238E27FC236}">
                  <a16:creationId xmlns:a16="http://schemas.microsoft.com/office/drawing/2014/main" id="{D7771BC4-39B1-414E-BCE4-0E3A278BAF32}"/>
                </a:ext>
              </a:extLst>
            </p:cNvPr>
            <p:cNvSpPr/>
            <p:nvPr/>
          </p:nvSpPr>
          <p:spPr>
            <a:xfrm>
              <a:off x="3547109" y="2032254"/>
              <a:ext cx="1130935" cy="1130935"/>
            </a:xfrm>
            <a:custGeom>
              <a:avLst/>
              <a:gdLst/>
              <a:ahLst/>
              <a:cxnLst/>
              <a:rect l="l" t="t" r="r" b="b"/>
              <a:pathLst>
                <a:path w="1130935" h="1130935">
                  <a:moveTo>
                    <a:pt x="0" y="565404"/>
                  </a:moveTo>
                  <a:lnTo>
                    <a:pt x="2075" y="516614"/>
                  </a:lnTo>
                  <a:lnTo>
                    <a:pt x="8187" y="468978"/>
                  </a:lnTo>
                  <a:lnTo>
                    <a:pt x="18167" y="422665"/>
                  </a:lnTo>
                  <a:lnTo>
                    <a:pt x="31845" y="377844"/>
                  </a:lnTo>
                  <a:lnTo>
                    <a:pt x="49051" y="334686"/>
                  </a:lnTo>
                  <a:lnTo>
                    <a:pt x="69615" y="293360"/>
                  </a:lnTo>
                  <a:lnTo>
                    <a:pt x="93369" y="254034"/>
                  </a:lnTo>
                  <a:lnTo>
                    <a:pt x="120142" y="216881"/>
                  </a:lnTo>
                  <a:lnTo>
                    <a:pt x="149765" y="182067"/>
                  </a:lnTo>
                  <a:lnTo>
                    <a:pt x="182067" y="149765"/>
                  </a:lnTo>
                  <a:lnTo>
                    <a:pt x="216881" y="120142"/>
                  </a:lnTo>
                  <a:lnTo>
                    <a:pt x="254034" y="93369"/>
                  </a:lnTo>
                  <a:lnTo>
                    <a:pt x="293360" y="69615"/>
                  </a:lnTo>
                  <a:lnTo>
                    <a:pt x="334686" y="49051"/>
                  </a:lnTo>
                  <a:lnTo>
                    <a:pt x="377844" y="31845"/>
                  </a:lnTo>
                  <a:lnTo>
                    <a:pt x="422665" y="18167"/>
                  </a:lnTo>
                  <a:lnTo>
                    <a:pt x="468978" y="8187"/>
                  </a:lnTo>
                  <a:lnTo>
                    <a:pt x="516614" y="2075"/>
                  </a:lnTo>
                  <a:lnTo>
                    <a:pt x="565403" y="0"/>
                  </a:lnTo>
                  <a:lnTo>
                    <a:pt x="614193" y="2075"/>
                  </a:lnTo>
                  <a:lnTo>
                    <a:pt x="661829" y="8187"/>
                  </a:lnTo>
                  <a:lnTo>
                    <a:pt x="708142" y="18167"/>
                  </a:lnTo>
                  <a:lnTo>
                    <a:pt x="752963" y="31845"/>
                  </a:lnTo>
                  <a:lnTo>
                    <a:pt x="796121" y="49051"/>
                  </a:lnTo>
                  <a:lnTo>
                    <a:pt x="837447" y="69615"/>
                  </a:lnTo>
                  <a:lnTo>
                    <a:pt x="876773" y="93369"/>
                  </a:lnTo>
                  <a:lnTo>
                    <a:pt x="913926" y="120142"/>
                  </a:lnTo>
                  <a:lnTo>
                    <a:pt x="948740" y="149765"/>
                  </a:lnTo>
                  <a:lnTo>
                    <a:pt x="981042" y="182067"/>
                  </a:lnTo>
                  <a:lnTo>
                    <a:pt x="1010665" y="216881"/>
                  </a:lnTo>
                  <a:lnTo>
                    <a:pt x="1037438" y="254034"/>
                  </a:lnTo>
                  <a:lnTo>
                    <a:pt x="1061192" y="293360"/>
                  </a:lnTo>
                  <a:lnTo>
                    <a:pt x="1081756" y="334686"/>
                  </a:lnTo>
                  <a:lnTo>
                    <a:pt x="1098962" y="377844"/>
                  </a:lnTo>
                  <a:lnTo>
                    <a:pt x="1112640" y="422665"/>
                  </a:lnTo>
                  <a:lnTo>
                    <a:pt x="1122620" y="468978"/>
                  </a:lnTo>
                  <a:lnTo>
                    <a:pt x="1128732" y="516614"/>
                  </a:lnTo>
                  <a:lnTo>
                    <a:pt x="1130807" y="565404"/>
                  </a:lnTo>
                  <a:lnTo>
                    <a:pt x="1128732" y="614193"/>
                  </a:lnTo>
                  <a:lnTo>
                    <a:pt x="1122620" y="661829"/>
                  </a:lnTo>
                  <a:lnTo>
                    <a:pt x="1112640" y="708142"/>
                  </a:lnTo>
                  <a:lnTo>
                    <a:pt x="1098962" y="752963"/>
                  </a:lnTo>
                  <a:lnTo>
                    <a:pt x="1081756" y="796121"/>
                  </a:lnTo>
                  <a:lnTo>
                    <a:pt x="1061192" y="837447"/>
                  </a:lnTo>
                  <a:lnTo>
                    <a:pt x="1037438" y="876773"/>
                  </a:lnTo>
                  <a:lnTo>
                    <a:pt x="1010665" y="913926"/>
                  </a:lnTo>
                  <a:lnTo>
                    <a:pt x="981042" y="948740"/>
                  </a:lnTo>
                  <a:lnTo>
                    <a:pt x="948740" y="981042"/>
                  </a:lnTo>
                  <a:lnTo>
                    <a:pt x="913926" y="1010665"/>
                  </a:lnTo>
                  <a:lnTo>
                    <a:pt x="876773" y="1037438"/>
                  </a:lnTo>
                  <a:lnTo>
                    <a:pt x="837447" y="1061192"/>
                  </a:lnTo>
                  <a:lnTo>
                    <a:pt x="796121" y="1081756"/>
                  </a:lnTo>
                  <a:lnTo>
                    <a:pt x="752963" y="1098962"/>
                  </a:lnTo>
                  <a:lnTo>
                    <a:pt x="708142" y="1112640"/>
                  </a:lnTo>
                  <a:lnTo>
                    <a:pt x="661829" y="1122620"/>
                  </a:lnTo>
                  <a:lnTo>
                    <a:pt x="614193" y="1128732"/>
                  </a:lnTo>
                  <a:lnTo>
                    <a:pt x="565403" y="1130808"/>
                  </a:lnTo>
                  <a:lnTo>
                    <a:pt x="516614" y="1128732"/>
                  </a:lnTo>
                  <a:lnTo>
                    <a:pt x="468978" y="1122620"/>
                  </a:lnTo>
                  <a:lnTo>
                    <a:pt x="422665" y="1112640"/>
                  </a:lnTo>
                  <a:lnTo>
                    <a:pt x="377844" y="1098962"/>
                  </a:lnTo>
                  <a:lnTo>
                    <a:pt x="334686" y="1081756"/>
                  </a:lnTo>
                  <a:lnTo>
                    <a:pt x="293360" y="1061192"/>
                  </a:lnTo>
                  <a:lnTo>
                    <a:pt x="254034" y="1037438"/>
                  </a:lnTo>
                  <a:lnTo>
                    <a:pt x="216881" y="1010665"/>
                  </a:lnTo>
                  <a:lnTo>
                    <a:pt x="182067" y="981042"/>
                  </a:lnTo>
                  <a:lnTo>
                    <a:pt x="149765" y="948740"/>
                  </a:lnTo>
                  <a:lnTo>
                    <a:pt x="120142" y="913926"/>
                  </a:lnTo>
                  <a:lnTo>
                    <a:pt x="93369" y="876773"/>
                  </a:lnTo>
                  <a:lnTo>
                    <a:pt x="69615" y="837447"/>
                  </a:lnTo>
                  <a:lnTo>
                    <a:pt x="49051" y="796121"/>
                  </a:lnTo>
                  <a:lnTo>
                    <a:pt x="31845" y="752963"/>
                  </a:lnTo>
                  <a:lnTo>
                    <a:pt x="18167" y="708142"/>
                  </a:lnTo>
                  <a:lnTo>
                    <a:pt x="8187" y="661829"/>
                  </a:lnTo>
                  <a:lnTo>
                    <a:pt x="2075" y="614193"/>
                  </a:lnTo>
                  <a:lnTo>
                    <a:pt x="0" y="565404"/>
                  </a:lnTo>
                  <a:close/>
                </a:path>
              </a:pathLst>
            </a:custGeom>
            <a:ln w="19812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5F98BD0-9C70-423F-B7F0-EA3AF60AE0F8}"/>
              </a:ext>
            </a:extLst>
          </p:cNvPr>
          <p:cNvGrpSpPr/>
          <p:nvPr/>
        </p:nvGrpSpPr>
        <p:grpSpPr>
          <a:xfrm>
            <a:off x="4195066" y="1830912"/>
            <a:ext cx="1104822" cy="1136861"/>
            <a:chOff x="3467100" y="1822704"/>
            <a:chExt cx="1417447" cy="1481455"/>
          </a:xfrm>
        </p:grpSpPr>
        <p:sp>
          <p:nvSpPr>
            <p:cNvPr id="88" name="object 17">
              <a:extLst>
                <a:ext uri="{FF2B5EF4-FFF2-40B4-BE49-F238E27FC236}">
                  <a16:creationId xmlns:a16="http://schemas.microsoft.com/office/drawing/2014/main" id="{B5D444B5-A855-405E-8E10-00316D895446}"/>
                </a:ext>
              </a:extLst>
            </p:cNvPr>
            <p:cNvSpPr/>
            <p:nvPr/>
          </p:nvSpPr>
          <p:spPr>
            <a:xfrm>
              <a:off x="3550284" y="1898904"/>
              <a:ext cx="1259840" cy="1405255"/>
            </a:xfrm>
            <a:custGeom>
              <a:avLst/>
              <a:gdLst/>
              <a:ahLst/>
              <a:cxnLst/>
              <a:rect l="l" t="t" r="r" b="b"/>
              <a:pathLst>
                <a:path w="1259839" h="1405254">
                  <a:moveTo>
                    <a:pt x="556132" y="0"/>
                  </a:moveTo>
                  <a:lnTo>
                    <a:pt x="604293" y="1620"/>
                  </a:lnTo>
                  <a:lnTo>
                    <a:pt x="651582" y="6414"/>
                  </a:lnTo>
                  <a:lnTo>
                    <a:pt x="697894" y="14274"/>
                  </a:lnTo>
                  <a:lnTo>
                    <a:pt x="743124" y="25098"/>
                  </a:lnTo>
                  <a:lnTo>
                    <a:pt x="787169" y="38780"/>
                  </a:lnTo>
                  <a:lnTo>
                    <a:pt x="829923" y="55215"/>
                  </a:lnTo>
                  <a:lnTo>
                    <a:pt x="871281" y="74299"/>
                  </a:lnTo>
                  <a:lnTo>
                    <a:pt x="911140" y="95927"/>
                  </a:lnTo>
                  <a:lnTo>
                    <a:pt x="949394" y="119994"/>
                  </a:lnTo>
                  <a:lnTo>
                    <a:pt x="985938" y="146397"/>
                  </a:lnTo>
                  <a:lnTo>
                    <a:pt x="1020669" y="175029"/>
                  </a:lnTo>
                  <a:lnTo>
                    <a:pt x="1053480" y="205787"/>
                  </a:lnTo>
                  <a:lnTo>
                    <a:pt x="1084269" y="238566"/>
                  </a:lnTo>
                  <a:lnTo>
                    <a:pt x="1112929" y="273261"/>
                  </a:lnTo>
                  <a:lnTo>
                    <a:pt x="1139356" y="309767"/>
                  </a:lnTo>
                  <a:lnTo>
                    <a:pt x="1163447" y="347980"/>
                  </a:lnTo>
                  <a:lnTo>
                    <a:pt x="1185094" y="387794"/>
                  </a:lnTo>
                  <a:lnTo>
                    <a:pt x="1204196" y="429107"/>
                  </a:lnTo>
                  <a:lnTo>
                    <a:pt x="1220645" y="471812"/>
                  </a:lnTo>
                  <a:lnTo>
                    <a:pt x="1234339" y="515805"/>
                  </a:lnTo>
                  <a:lnTo>
                    <a:pt x="1245172" y="560981"/>
                  </a:lnTo>
                  <a:lnTo>
                    <a:pt x="1253039" y="607236"/>
                  </a:lnTo>
                  <a:lnTo>
                    <a:pt x="1257836" y="654465"/>
                  </a:lnTo>
                  <a:lnTo>
                    <a:pt x="1259459" y="702563"/>
                  </a:lnTo>
                  <a:lnTo>
                    <a:pt x="1257836" y="750662"/>
                  </a:lnTo>
                  <a:lnTo>
                    <a:pt x="1253039" y="797891"/>
                  </a:lnTo>
                  <a:lnTo>
                    <a:pt x="1245172" y="844146"/>
                  </a:lnTo>
                  <a:lnTo>
                    <a:pt x="1234339" y="889322"/>
                  </a:lnTo>
                  <a:lnTo>
                    <a:pt x="1220645" y="933315"/>
                  </a:lnTo>
                  <a:lnTo>
                    <a:pt x="1204196" y="976020"/>
                  </a:lnTo>
                  <a:lnTo>
                    <a:pt x="1185094" y="1017333"/>
                  </a:lnTo>
                  <a:lnTo>
                    <a:pt x="1163447" y="1057147"/>
                  </a:lnTo>
                  <a:lnTo>
                    <a:pt x="1139356" y="1095360"/>
                  </a:lnTo>
                  <a:lnTo>
                    <a:pt x="1112929" y="1131866"/>
                  </a:lnTo>
                  <a:lnTo>
                    <a:pt x="1084269" y="1166561"/>
                  </a:lnTo>
                  <a:lnTo>
                    <a:pt x="1053480" y="1199340"/>
                  </a:lnTo>
                  <a:lnTo>
                    <a:pt x="1020669" y="1230098"/>
                  </a:lnTo>
                  <a:lnTo>
                    <a:pt x="985938" y="1258730"/>
                  </a:lnTo>
                  <a:lnTo>
                    <a:pt x="949394" y="1285133"/>
                  </a:lnTo>
                  <a:lnTo>
                    <a:pt x="911140" y="1309200"/>
                  </a:lnTo>
                  <a:lnTo>
                    <a:pt x="871281" y="1330828"/>
                  </a:lnTo>
                  <a:lnTo>
                    <a:pt x="829923" y="1349912"/>
                  </a:lnTo>
                  <a:lnTo>
                    <a:pt x="787169" y="1366347"/>
                  </a:lnTo>
                  <a:lnTo>
                    <a:pt x="743124" y="1380029"/>
                  </a:lnTo>
                  <a:lnTo>
                    <a:pt x="697894" y="1390853"/>
                  </a:lnTo>
                  <a:lnTo>
                    <a:pt x="651582" y="1398713"/>
                  </a:lnTo>
                  <a:lnTo>
                    <a:pt x="604293" y="1403507"/>
                  </a:lnTo>
                  <a:lnTo>
                    <a:pt x="556132" y="1405128"/>
                  </a:lnTo>
                  <a:lnTo>
                    <a:pt x="506172" y="1403355"/>
                  </a:lnTo>
                  <a:lnTo>
                    <a:pt x="456808" y="1398092"/>
                  </a:lnTo>
                  <a:lnTo>
                    <a:pt x="408205" y="1389418"/>
                  </a:lnTo>
                  <a:lnTo>
                    <a:pt x="360525" y="1377414"/>
                  </a:lnTo>
                  <a:lnTo>
                    <a:pt x="313933" y="1362159"/>
                  </a:lnTo>
                  <a:lnTo>
                    <a:pt x="268593" y="1343733"/>
                  </a:lnTo>
                  <a:lnTo>
                    <a:pt x="224667" y="1322217"/>
                  </a:lnTo>
                  <a:lnTo>
                    <a:pt x="182321" y="1297691"/>
                  </a:lnTo>
                  <a:lnTo>
                    <a:pt x="141717" y="1270235"/>
                  </a:lnTo>
                  <a:lnTo>
                    <a:pt x="103019" y="1239929"/>
                  </a:lnTo>
                  <a:lnTo>
                    <a:pt x="66391" y="1206853"/>
                  </a:lnTo>
                  <a:lnTo>
                    <a:pt x="31997" y="1171088"/>
                  </a:lnTo>
                  <a:lnTo>
                    <a:pt x="0" y="1132713"/>
                  </a:lnTo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89" name="object 18">
              <a:extLst>
                <a:ext uri="{FF2B5EF4-FFF2-40B4-BE49-F238E27FC236}">
                  <a16:creationId xmlns:a16="http://schemas.microsoft.com/office/drawing/2014/main" id="{5EC512BE-67A6-44A1-BDE2-56287FBEC9DA}"/>
                </a:ext>
              </a:extLst>
            </p:cNvPr>
            <p:cNvSpPr/>
            <p:nvPr/>
          </p:nvSpPr>
          <p:spPr>
            <a:xfrm>
              <a:off x="3467100" y="1962911"/>
              <a:ext cx="1278890" cy="1277620"/>
            </a:xfrm>
            <a:custGeom>
              <a:avLst/>
              <a:gdLst/>
              <a:ahLst/>
              <a:cxnLst/>
              <a:rect l="l" t="t" r="r" b="b"/>
              <a:pathLst>
                <a:path w="1278889" h="1277620">
                  <a:moveTo>
                    <a:pt x="639317" y="0"/>
                  </a:moveTo>
                  <a:lnTo>
                    <a:pt x="687027" y="1751"/>
                  </a:lnTo>
                  <a:lnTo>
                    <a:pt x="733785" y="6923"/>
                  </a:lnTo>
                  <a:lnTo>
                    <a:pt x="779468" y="15392"/>
                  </a:lnTo>
                  <a:lnTo>
                    <a:pt x="823952" y="27034"/>
                  </a:lnTo>
                  <a:lnTo>
                    <a:pt x="867112" y="41727"/>
                  </a:lnTo>
                  <a:lnTo>
                    <a:pt x="908827" y="59346"/>
                  </a:lnTo>
                  <a:lnTo>
                    <a:pt x="948971" y="79769"/>
                  </a:lnTo>
                  <a:lnTo>
                    <a:pt x="987422" y="102871"/>
                  </a:lnTo>
                  <a:lnTo>
                    <a:pt x="1024055" y="128530"/>
                  </a:lnTo>
                  <a:lnTo>
                    <a:pt x="1058747" y="156622"/>
                  </a:lnTo>
                  <a:lnTo>
                    <a:pt x="1091374" y="187023"/>
                  </a:lnTo>
                  <a:lnTo>
                    <a:pt x="1121813" y="219610"/>
                  </a:lnTo>
                  <a:lnTo>
                    <a:pt x="1149940" y="254260"/>
                  </a:lnTo>
                  <a:lnTo>
                    <a:pt x="1175631" y="290849"/>
                  </a:lnTo>
                  <a:lnTo>
                    <a:pt x="1198763" y="329253"/>
                  </a:lnTo>
                  <a:lnTo>
                    <a:pt x="1219212" y="369350"/>
                  </a:lnTo>
                  <a:lnTo>
                    <a:pt x="1236854" y="411016"/>
                  </a:lnTo>
                  <a:lnTo>
                    <a:pt x="1251565" y="454127"/>
                  </a:lnTo>
                  <a:lnTo>
                    <a:pt x="1263223" y="498560"/>
                  </a:lnTo>
                  <a:lnTo>
                    <a:pt x="1271703" y="544191"/>
                  </a:lnTo>
                  <a:lnTo>
                    <a:pt x="1276882" y="590898"/>
                  </a:lnTo>
                  <a:lnTo>
                    <a:pt x="1278636" y="638555"/>
                  </a:lnTo>
                  <a:lnTo>
                    <a:pt x="1276882" y="686213"/>
                  </a:lnTo>
                  <a:lnTo>
                    <a:pt x="1271703" y="732920"/>
                  </a:lnTo>
                  <a:lnTo>
                    <a:pt x="1263223" y="778551"/>
                  </a:lnTo>
                  <a:lnTo>
                    <a:pt x="1251565" y="822984"/>
                  </a:lnTo>
                  <a:lnTo>
                    <a:pt x="1236854" y="866095"/>
                  </a:lnTo>
                  <a:lnTo>
                    <a:pt x="1219212" y="907761"/>
                  </a:lnTo>
                  <a:lnTo>
                    <a:pt x="1198763" y="947858"/>
                  </a:lnTo>
                  <a:lnTo>
                    <a:pt x="1175631" y="986262"/>
                  </a:lnTo>
                  <a:lnTo>
                    <a:pt x="1149940" y="1022851"/>
                  </a:lnTo>
                  <a:lnTo>
                    <a:pt x="1121813" y="1057501"/>
                  </a:lnTo>
                  <a:lnTo>
                    <a:pt x="1091374" y="1090088"/>
                  </a:lnTo>
                  <a:lnTo>
                    <a:pt x="1058747" y="1120489"/>
                  </a:lnTo>
                  <a:lnTo>
                    <a:pt x="1024055" y="1148581"/>
                  </a:lnTo>
                  <a:lnTo>
                    <a:pt x="987422" y="1174240"/>
                  </a:lnTo>
                  <a:lnTo>
                    <a:pt x="948971" y="1197342"/>
                  </a:lnTo>
                  <a:lnTo>
                    <a:pt x="908827" y="1217765"/>
                  </a:lnTo>
                  <a:lnTo>
                    <a:pt x="867112" y="1235384"/>
                  </a:lnTo>
                  <a:lnTo>
                    <a:pt x="823952" y="1250077"/>
                  </a:lnTo>
                  <a:lnTo>
                    <a:pt x="779468" y="1261719"/>
                  </a:lnTo>
                  <a:lnTo>
                    <a:pt x="733785" y="1270188"/>
                  </a:lnTo>
                  <a:lnTo>
                    <a:pt x="687027" y="1275360"/>
                  </a:lnTo>
                  <a:lnTo>
                    <a:pt x="639317" y="1277112"/>
                  </a:lnTo>
                  <a:lnTo>
                    <a:pt x="591608" y="1275360"/>
                  </a:lnTo>
                  <a:lnTo>
                    <a:pt x="544850" y="1270188"/>
                  </a:lnTo>
                  <a:lnTo>
                    <a:pt x="499167" y="1261719"/>
                  </a:lnTo>
                  <a:lnTo>
                    <a:pt x="454683" y="1250077"/>
                  </a:lnTo>
                  <a:lnTo>
                    <a:pt x="411523" y="1235384"/>
                  </a:lnTo>
                  <a:lnTo>
                    <a:pt x="369808" y="1217765"/>
                  </a:lnTo>
                  <a:lnTo>
                    <a:pt x="329664" y="1197342"/>
                  </a:lnTo>
                  <a:lnTo>
                    <a:pt x="291213" y="1174240"/>
                  </a:lnTo>
                  <a:lnTo>
                    <a:pt x="254580" y="1148581"/>
                  </a:lnTo>
                  <a:lnTo>
                    <a:pt x="219888" y="1120489"/>
                  </a:lnTo>
                  <a:lnTo>
                    <a:pt x="187261" y="1090088"/>
                  </a:lnTo>
                  <a:lnTo>
                    <a:pt x="156822" y="1057501"/>
                  </a:lnTo>
                  <a:lnTo>
                    <a:pt x="128695" y="1022851"/>
                  </a:lnTo>
                  <a:lnTo>
                    <a:pt x="103004" y="986262"/>
                  </a:lnTo>
                  <a:lnTo>
                    <a:pt x="79872" y="947858"/>
                  </a:lnTo>
                  <a:lnTo>
                    <a:pt x="59423" y="907761"/>
                  </a:lnTo>
                  <a:lnTo>
                    <a:pt x="41781" y="866095"/>
                  </a:lnTo>
                  <a:lnTo>
                    <a:pt x="27070" y="822984"/>
                  </a:lnTo>
                  <a:lnTo>
                    <a:pt x="15412" y="778551"/>
                  </a:lnTo>
                  <a:lnTo>
                    <a:pt x="6932" y="732920"/>
                  </a:lnTo>
                  <a:lnTo>
                    <a:pt x="1753" y="686213"/>
                  </a:lnTo>
                  <a:lnTo>
                    <a:pt x="0" y="638555"/>
                  </a:lnTo>
                  <a:lnTo>
                    <a:pt x="2217" y="585401"/>
                  </a:lnTo>
                  <a:lnTo>
                    <a:pt x="8812" y="532886"/>
                  </a:lnTo>
                  <a:lnTo>
                    <a:pt x="19696" y="481266"/>
                  </a:lnTo>
                  <a:lnTo>
                    <a:pt x="34782" y="430799"/>
                  </a:lnTo>
                  <a:lnTo>
                    <a:pt x="53981" y="381744"/>
                  </a:lnTo>
                  <a:lnTo>
                    <a:pt x="77206" y="334357"/>
                  </a:lnTo>
                  <a:lnTo>
                    <a:pt x="104368" y="288895"/>
                  </a:lnTo>
                  <a:lnTo>
                    <a:pt x="135382" y="245617"/>
                  </a:lnTo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90" name="object 19">
              <a:extLst>
                <a:ext uri="{FF2B5EF4-FFF2-40B4-BE49-F238E27FC236}">
                  <a16:creationId xmlns:a16="http://schemas.microsoft.com/office/drawing/2014/main" id="{F1DB4467-5B6C-44DD-B234-B0BE9E82E6DA}"/>
                </a:ext>
              </a:extLst>
            </p:cNvPr>
            <p:cNvSpPr/>
            <p:nvPr/>
          </p:nvSpPr>
          <p:spPr>
            <a:xfrm>
              <a:off x="4111752" y="1822704"/>
              <a:ext cx="772795" cy="1082675"/>
            </a:xfrm>
            <a:custGeom>
              <a:avLst/>
              <a:gdLst/>
              <a:ahLst/>
              <a:cxnLst/>
              <a:rect l="l" t="t" r="r" b="b"/>
              <a:pathLst>
                <a:path w="772795" h="1082675">
                  <a:moveTo>
                    <a:pt x="0" y="0"/>
                  </a:moveTo>
                  <a:lnTo>
                    <a:pt x="48863" y="1521"/>
                  </a:lnTo>
                  <a:lnTo>
                    <a:pt x="96919" y="6026"/>
                  </a:lnTo>
                  <a:lnTo>
                    <a:pt x="144077" y="13424"/>
                  </a:lnTo>
                  <a:lnTo>
                    <a:pt x="190246" y="23624"/>
                  </a:lnTo>
                  <a:lnTo>
                    <a:pt x="235337" y="36535"/>
                  </a:lnTo>
                  <a:lnTo>
                    <a:pt x="279258" y="52067"/>
                  </a:lnTo>
                  <a:lnTo>
                    <a:pt x="321919" y="70128"/>
                  </a:lnTo>
                  <a:lnTo>
                    <a:pt x="363229" y="90629"/>
                  </a:lnTo>
                  <a:lnTo>
                    <a:pt x="403098" y="113479"/>
                  </a:lnTo>
                  <a:lnTo>
                    <a:pt x="441436" y="138587"/>
                  </a:lnTo>
                  <a:lnTo>
                    <a:pt x="478151" y="165862"/>
                  </a:lnTo>
                  <a:lnTo>
                    <a:pt x="513154" y="195214"/>
                  </a:lnTo>
                  <a:lnTo>
                    <a:pt x="546354" y="226552"/>
                  </a:lnTo>
                  <a:lnTo>
                    <a:pt x="577659" y="259785"/>
                  </a:lnTo>
                  <a:lnTo>
                    <a:pt x="606981" y="294823"/>
                  </a:lnTo>
                  <a:lnTo>
                    <a:pt x="634228" y="331575"/>
                  </a:lnTo>
                  <a:lnTo>
                    <a:pt x="659309" y="369951"/>
                  </a:lnTo>
                  <a:lnTo>
                    <a:pt x="682135" y="409859"/>
                  </a:lnTo>
                  <a:lnTo>
                    <a:pt x="702614" y="451210"/>
                  </a:lnTo>
                  <a:lnTo>
                    <a:pt x="720657" y="493912"/>
                  </a:lnTo>
                  <a:lnTo>
                    <a:pt x="736172" y="537875"/>
                  </a:lnTo>
                  <a:lnTo>
                    <a:pt x="749069" y="583008"/>
                  </a:lnTo>
                  <a:lnTo>
                    <a:pt x="759257" y="629221"/>
                  </a:lnTo>
                  <a:lnTo>
                    <a:pt x="766647" y="676422"/>
                  </a:lnTo>
                  <a:lnTo>
                    <a:pt x="771147" y="724522"/>
                  </a:lnTo>
                  <a:lnTo>
                    <a:pt x="772668" y="773430"/>
                  </a:lnTo>
                  <a:lnTo>
                    <a:pt x="770853" y="826453"/>
                  </a:lnTo>
                  <a:lnTo>
                    <a:pt x="765433" y="879103"/>
                  </a:lnTo>
                  <a:lnTo>
                    <a:pt x="756443" y="931195"/>
                  </a:lnTo>
                  <a:lnTo>
                    <a:pt x="743918" y="982547"/>
                  </a:lnTo>
                  <a:lnTo>
                    <a:pt x="727894" y="1032974"/>
                  </a:lnTo>
                  <a:lnTo>
                    <a:pt x="708406" y="1082294"/>
                  </a:lnTo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91" name="object 40">
              <a:extLst>
                <a:ext uri="{FF2B5EF4-FFF2-40B4-BE49-F238E27FC236}">
                  <a16:creationId xmlns:a16="http://schemas.microsoft.com/office/drawing/2014/main" id="{4DBBCE1E-3C11-4823-888B-2A2A37A63886}"/>
                </a:ext>
              </a:extLst>
            </p:cNvPr>
            <p:cNvSpPr/>
            <p:nvPr/>
          </p:nvSpPr>
          <p:spPr>
            <a:xfrm>
              <a:off x="3547109" y="2032254"/>
              <a:ext cx="1130935" cy="1130935"/>
            </a:xfrm>
            <a:custGeom>
              <a:avLst/>
              <a:gdLst/>
              <a:ahLst/>
              <a:cxnLst/>
              <a:rect l="l" t="t" r="r" b="b"/>
              <a:pathLst>
                <a:path w="1130935" h="1130935">
                  <a:moveTo>
                    <a:pt x="565403" y="0"/>
                  </a:moveTo>
                  <a:lnTo>
                    <a:pt x="516614" y="2075"/>
                  </a:lnTo>
                  <a:lnTo>
                    <a:pt x="468978" y="8187"/>
                  </a:lnTo>
                  <a:lnTo>
                    <a:pt x="422665" y="18167"/>
                  </a:lnTo>
                  <a:lnTo>
                    <a:pt x="377844" y="31845"/>
                  </a:lnTo>
                  <a:lnTo>
                    <a:pt x="334686" y="49051"/>
                  </a:lnTo>
                  <a:lnTo>
                    <a:pt x="293360" y="69615"/>
                  </a:lnTo>
                  <a:lnTo>
                    <a:pt x="254034" y="93369"/>
                  </a:lnTo>
                  <a:lnTo>
                    <a:pt x="216881" y="120142"/>
                  </a:lnTo>
                  <a:lnTo>
                    <a:pt x="182067" y="149765"/>
                  </a:lnTo>
                  <a:lnTo>
                    <a:pt x="149765" y="182067"/>
                  </a:lnTo>
                  <a:lnTo>
                    <a:pt x="120142" y="216881"/>
                  </a:lnTo>
                  <a:lnTo>
                    <a:pt x="93369" y="254034"/>
                  </a:lnTo>
                  <a:lnTo>
                    <a:pt x="69615" y="293360"/>
                  </a:lnTo>
                  <a:lnTo>
                    <a:pt x="49051" y="334686"/>
                  </a:lnTo>
                  <a:lnTo>
                    <a:pt x="31845" y="377844"/>
                  </a:lnTo>
                  <a:lnTo>
                    <a:pt x="18167" y="422665"/>
                  </a:lnTo>
                  <a:lnTo>
                    <a:pt x="8187" y="468978"/>
                  </a:lnTo>
                  <a:lnTo>
                    <a:pt x="2075" y="516614"/>
                  </a:lnTo>
                  <a:lnTo>
                    <a:pt x="0" y="565404"/>
                  </a:lnTo>
                  <a:lnTo>
                    <a:pt x="2075" y="614193"/>
                  </a:lnTo>
                  <a:lnTo>
                    <a:pt x="8187" y="661829"/>
                  </a:lnTo>
                  <a:lnTo>
                    <a:pt x="18167" y="708142"/>
                  </a:lnTo>
                  <a:lnTo>
                    <a:pt x="31845" y="752963"/>
                  </a:lnTo>
                  <a:lnTo>
                    <a:pt x="49051" y="796121"/>
                  </a:lnTo>
                  <a:lnTo>
                    <a:pt x="69615" y="837447"/>
                  </a:lnTo>
                  <a:lnTo>
                    <a:pt x="93369" y="876773"/>
                  </a:lnTo>
                  <a:lnTo>
                    <a:pt x="120142" y="913926"/>
                  </a:lnTo>
                  <a:lnTo>
                    <a:pt x="149765" y="948740"/>
                  </a:lnTo>
                  <a:lnTo>
                    <a:pt x="182067" y="981042"/>
                  </a:lnTo>
                  <a:lnTo>
                    <a:pt x="216881" y="1010665"/>
                  </a:lnTo>
                  <a:lnTo>
                    <a:pt x="254034" y="1037438"/>
                  </a:lnTo>
                  <a:lnTo>
                    <a:pt x="293360" y="1061192"/>
                  </a:lnTo>
                  <a:lnTo>
                    <a:pt x="334686" y="1081756"/>
                  </a:lnTo>
                  <a:lnTo>
                    <a:pt x="377844" y="1098962"/>
                  </a:lnTo>
                  <a:lnTo>
                    <a:pt x="422665" y="1112640"/>
                  </a:lnTo>
                  <a:lnTo>
                    <a:pt x="468978" y="1122620"/>
                  </a:lnTo>
                  <a:lnTo>
                    <a:pt x="516614" y="1128732"/>
                  </a:lnTo>
                  <a:lnTo>
                    <a:pt x="565403" y="1130808"/>
                  </a:lnTo>
                  <a:lnTo>
                    <a:pt x="614193" y="1128732"/>
                  </a:lnTo>
                  <a:lnTo>
                    <a:pt x="661829" y="1122620"/>
                  </a:lnTo>
                  <a:lnTo>
                    <a:pt x="708142" y="1112640"/>
                  </a:lnTo>
                  <a:lnTo>
                    <a:pt x="752963" y="1098962"/>
                  </a:lnTo>
                  <a:lnTo>
                    <a:pt x="796121" y="1081756"/>
                  </a:lnTo>
                  <a:lnTo>
                    <a:pt x="837447" y="1061192"/>
                  </a:lnTo>
                  <a:lnTo>
                    <a:pt x="876773" y="1037438"/>
                  </a:lnTo>
                  <a:lnTo>
                    <a:pt x="913926" y="1010665"/>
                  </a:lnTo>
                  <a:lnTo>
                    <a:pt x="948740" y="981042"/>
                  </a:lnTo>
                  <a:lnTo>
                    <a:pt x="981042" y="948740"/>
                  </a:lnTo>
                  <a:lnTo>
                    <a:pt x="1010665" y="913926"/>
                  </a:lnTo>
                  <a:lnTo>
                    <a:pt x="1037438" y="876773"/>
                  </a:lnTo>
                  <a:lnTo>
                    <a:pt x="1061192" y="837447"/>
                  </a:lnTo>
                  <a:lnTo>
                    <a:pt x="1081756" y="796121"/>
                  </a:lnTo>
                  <a:lnTo>
                    <a:pt x="1098962" y="752963"/>
                  </a:lnTo>
                  <a:lnTo>
                    <a:pt x="1112640" y="708142"/>
                  </a:lnTo>
                  <a:lnTo>
                    <a:pt x="1122620" y="661829"/>
                  </a:lnTo>
                  <a:lnTo>
                    <a:pt x="1128732" y="614193"/>
                  </a:lnTo>
                  <a:lnTo>
                    <a:pt x="1130807" y="565404"/>
                  </a:lnTo>
                  <a:lnTo>
                    <a:pt x="1128732" y="516614"/>
                  </a:lnTo>
                  <a:lnTo>
                    <a:pt x="1122620" y="468978"/>
                  </a:lnTo>
                  <a:lnTo>
                    <a:pt x="1112640" y="422665"/>
                  </a:lnTo>
                  <a:lnTo>
                    <a:pt x="1098962" y="377844"/>
                  </a:lnTo>
                  <a:lnTo>
                    <a:pt x="1081756" y="334686"/>
                  </a:lnTo>
                  <a:lnTo>
                    <a:pt x="1061192" y="293360"/>
                  </a:lnTo>
                  <a:lnTo>
                    <a:pt x="1037438" y="254034"/>
                  </a:lnTo>
                  <a:lnTo>
                    <a:pt x="1010665" y="216881"/>
                  </a:lnTo>
                  <a:lnTo>
                    <a:pt x="981042" y="182067"/>
                  </a:lnTo>
                  <a:lnTo>
                    <a:pt x="948740" y="149765"/>
                  </a:lnTo>
                  <a:lnTo>
                    <a:pt x="913926" y="120142"/>
                  </a:lnTo>
                  <a:lnTo>
                    <a:pt x="876773" y="93369"/>
                  </a:lnTo>
                  <a:lnTo>
                    <a:pt x="837447" y="69615"/>
                  </a:lnTo>
                  <a:lnTo>
                    <a:pt x="796121" y="49051"/>
                  </a:lnTo>
                  <a:lnTo>
                    <a:pt x="752963" y="31845"/>
                  </a:lnTo>
                  <a:lnTo>
                    <a:pt x="708142" y="18167"/>
                  </a:lnTo>
                  <a:lnTo>
                    <a:pt x="661829" y="8187"/>
                  </a:lnTo>
                  <a:lnTo>
                    <a:pt x="614193" y="2075"/>
                  </a:lnTo>
                  <a:lnTo>
                    <a:pt x="565403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92" name="object 41">
              <a:extLst>
                <a:ext uri="{FF2B5EF4-FFF2-40B4-BE49-F238E27FC236}">
                  <a16:creationId xmlns:a16="http://schemas.microsoft.com/office/drawing/2014/main" id="{6712B16C-ED46-44C3-8FE1-72CC07AE3435}"/>
                </a:ext>
              </a:extLst>
            </p:cNvPr>
            <p:cNvSpPr/>
            <p:nvPr/>
          </p:nvSpPr>
          <p:spPr>
            <a:xfrm>
              <a:off x="3547109" y="2032254"/>
              <a:ext cx="1130935" cy="1130935"/>
            </a:xfrm>
            <a:custGeom>
              <a:avLst/>
              <a:gdLst/>
              <a:ahLst/>
              <a:cxnLst/>
              <a:rect l="l" t="t" r="r" b="b"/>
              <a:pathLst>
                <a:path w="1130935" h="1130935">
                  <a:moveTo>
                    <a:pt x="0" y="565404"/>
                  </a:moveTo>
                  <a:lnTo>
                    <a:pt x="2075" y="516614"/>
                  </a:lnTo>
                  <a:lnTo>
                    <a:pt x="8187" y="468978"/>
                  </a:lnTo>
                  <a:lnTo>
                    <a:pt x="18167" y="422665"/>
                  </a:lnTo>
                  <a:lnTo>
                    <a:pt x="31845" y="377844"/>
                  </a:lnTo>
                  <a:lnTo>
                    <a:pt x="49051" y="334686"/>
                  </a:lnTo>
                  <a:lnTo>
                    <a:pt x="69615" y="293360"/>
                  </a:lnTo>
                  <a:lnTo>
                    <a:pt x="93369" y="254034"/>
                  </a:lnTo>
                  <a:lnTo>
                    <a:pt x="120142" y="216881"/>
                  </a:lnTo>
                  <a:lnTo>
                    <a:pt x="149765" y="182067"/>
                  </a:lnTo>
                  <a:lnTo>
                    <a:pt x="182067" y="149765"/>
                  </a:lnTo>
                  <a:lnTo>
                    <a:pt x="216881" y="120142"/>
                  </a:lnTo>
                  <a:lnTo>
                    <a:pt x="254034" y="93369"/>
                  </a:lnTo>
                  <a:lnTo>
                    <a:pt x="293360" y="69615"/>
                  </a:lnTo>
                  <a:lnTo>
                    <a:pt x="334686" y="49051"/>
                  </a:lnTo>
                  <a:lnTo>
                    <a:pt x="377844" y="31845"/>
                  </a:lnTo>
                  <a:lnTo>
                    <a:pt x="422665" y="18167"/>
                  </a:lnTo>
                  <a:lnTo>
                    <a:pt x="468978" y="8187"/>
                  </a:lnTo>
                  <a:lnTo>
                    <a:pt x="516614" y="2075"/>
                  </a:lnTo>
                  <a:lnTo>
                    <a:pt x="565403" y="0"/>
                  </a:lnTo>
                  <a:lnTo>
                    <a:pt x="614193" y="2075"/>
                  </a:lnTo>
                  <a:lnTo>
                    <a:pt x="661829" y="8187"/>
                  </a:lnTo>
                  <a:lnTo>
                    <a:pt x="708142" y="18167"/>
                  </a:lnTo>
                  <a:lnTo>
                    <a:pt x="752963" y="31845"/>
                  </a:lnTo>
                  <a:lnTo>
                    <a:pt x="796121" y="49051"/>
                  </a:lnTo>
                  <a:lnTo>
                    <a:pt x="837447" y="69615"/>
                  </a:lnTo>
                  <a:lnTo>
                    <a:pt x="876773" y="93369"/>
                  </a:lnTo>
                  <a:lnTo>
                    <a:pt x="913926" y="120142"/>
                  </a:lnTo>
                  <a:lnTo>
                    <a:pt x="948740" y="149765"/>
                  </a:lnTo>
                  <a:lnTo>
                    <a:pt x="981042" y="182067"/>
                  </a:lnTo>
                  <a:lnTo>
                    <a:pt x="1010665" y="216881"/>
                  </a:lnTo>
                  <a:lnTo>
                    <a:pt x="1037438" y="254034"/>
                  </a:lnTo>
                  <a:lnTo>
                    <a:pt x="1061192" y="293360"/>
                  </a:lnTo>
                  <a:lnTo>
                    <a:pt x="1081756" y="334686"/>
                  </a:lnTo>
                  <a:lnTo>
                    <a:pt x="1098962" y="377844"/>
                  </a:lnTo>
                  <a:lnTo>
                    <a:pt x="1112640" y="422665"/>
                  </a:lnTo>
                  <a:lnTo>
                    <a:pt x="1122620" y="468978"/>
                  </a:lnTo>
                  <a:lnTo>
                    <a:pt x="1128732" y="516614"/>
                  </a:lnTo>
                  <a:lnTo>
                    <a:pt x="1130807" y="565404"/>
                  </a:lnTo>
                  <a:lnTo>
                    <a:pt x="1128732" y="614193"/>
                  </a:lnTo>
                  <a:lnTo>
                    <a:pt x="1122620" y="661829"/>
                  </a:lnTo>
                  <a:lnTo>
                    <a:pt x="1112640" y="708142"/>
                  </a:lnTo>
                  <a:lnTo>
                    <a:pt x="1098962" y="752963"/>
                  </a:lnTo>
                  <a:lnTo>
                    <a:pt x="1081756" y="796121"/>
                  </a:lnTo>
                  <a:lnTo>
                    <a:pt x="1061192" y="837447"/>
                  </a:lnTo>
                  <a:lnTo>
                    <a:pt x="1037438" y="876773"/>
                  </a:lnTo>
                  <a:lnTo>
                    <a:pt x="1010665" y="913926"/>
                  </a:lnTo>
                  <a:lnTo>
                    <a:pt x="981042" y="948740"/>
                  </a:lnTo>
                  <a:lnTo>
                    <a:pt x="948740" y="981042"/>
                  </a:lnTo>
                  <a:lnTo>
                    <a:pt x="913926" y="1010665"/>
                  </a:lnTo>
                  <a:lnTo>
                    <a:pt x="876773" y="1037438"/>
                  </a:lnTo>
                  <a:lnTo>
                    <a:pt x="837447" y="1061192"/>
                  </a:lnTo>
                  <a:lnTo>
                    <a:pt x="796121" y="1081756"/>
                  </a:lnTo>
                  <a:lnTo>
                    <a:pt x="752963" y="1098962"/>
                  </a:lnTo>
                  <a:lnTo>
                    <a:pt x="708142" y="1112640"/>
                  </a:lnTo>
                  <a:lnTo>
                    <a:pt x="661829" y="1122620"/>
                  </a:lnTo>
                  <a:lnTo>
                    <a:pt x="614193" y="1128732"/>
                  </a:lnTo>
                  <a:lnTo>
                    <a:pt x="565403" y="1130808"/>
                  </a:lnTo>
                  <a:lnTo>
                    <a:pt x="516614" y="1128732"/>
                  </a:lnTo>
                  <a:lnTo>
                    <a:pt x="468978" y="1122620"/>
                  </a:lnTo>
                  <a:lnTo>
                    <a:pt x="422665" y="1112640"/>
                  </a:lnTo>
                  <a:lnTo>
                    <a:pt x="377844" y="1098962"/>
                  </a:lnTo>
                  <a:lnTo>
                    <a:pt x="334686" y="1081756"/>
                  </a:lnTo>
                  <a:lnTo>
                    <a:pt x="293360" y="1061192"/>
                  </a:lnTo>
                  <a:lnTo>
                    <a:pt x="254034" y="1037438"/>
                  </a:lnTo>
                  <a:lnTo>
                    <a:pt x="216881" y="1010665"/>
                  </a:lnTo>
                  <a:lnTo>
                    <a:pt x="182067" y="981042"/>
                  </a:lnTo>
                  <a:lnTo>
                    <a:pt x="149765" y="948740"/>
                  </a:lnTo>
                  <a:lnTo>
                    <a:pt x="120142" y="913926"/>
                  </a:lnTo>
                  <a:lnTo>
                    <a:pt x="93369" y="876773"/>
                  </a:lnTo>
                  <a:lnTo>
                    <a:pt x="69615" y="837447"/>
                  </a:lnTo>
                  <a:lnTo>
                    <a:pt x="49051" y="796121"/>
                  </a:lnTo>
                  <a:lnTo>
                    <a:pt x="31845" y="752963"/>
                  </a:lnTo>
                  <a:lnTo>
                    <a:pt x="18167" y="708142"/>
                  </a:lnTo>
                  <a:lnTo>
                    <a:pt x="8187" y="661829"/>
                  </a:lnTo>
                  <a:lnTo>
                    <a:pt x="2075" y="614193"/>
                  </a:lnTo>
                  <a:lnTo>
                    <a:pt x="0" y="565404"/>
                  </a:lnTo>
                  <a:close/>
                </a:path>
              </a:pathLst>
            </a:custGeom>
            <a:ln w="19812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13" name="object 65">
            <a:extLst>
              <a:ext uri="{FF2B5EF4-FFF2-40B4-BE49-F238E27FC236}">
                <a16:creationId xmlns:a16="http://schemas.microsoft.com/office/drawing/2014/main" id="{9B3E1D7F-F412-4008-9545-AE870ABE068F}"/>
              </a:ext>
            </a:extLst>
          </p:cNvPr>
          <p:cNvSpPr/>
          <p:nvPr/>
        </p:nvSpPr>
        <p:spPr>
          <a:xfrm rot="941282">
            <a:off x="3919150" y="1707655"/>
            <a:ext cx="747242" cy="188872"/>
          </a:xfrm>
          <a:custGeom>
            <a:avLst/>
            <a:gdLst/>
            <a:ahLst/>
            <a:cxnLst/>
            <a:rect l="l" t="t" r="r" b="b"/>
            <a:pathLst>
              <a:path w="1685289" h="352425">
                <a:moveTo>
                  <a:pt x="1621144" y="306764"/>
                </a:moveTo>
                <a:lnTo>
                  <a:pt x="1602486" y="327913"/>
                </a:lnTo>
                <a:lnTo>
                  <a:pt x="1684782" y="349758"/>
                </a:lnTo>
                <a:lnTo>
                  <a:pt x="1670790" y="315087"/>
                </a:lnTo>
                <a:lnTo>
                  <a:pt x="1631188" y="315087"/>
                </a:lnTo>
                <a:lnTo>
                  <a:pt x="1621144" y="306764"/>
                </a:lnTo>
                <a:close/>
              </a:path>
              <a:path w="1685289" h="352425">
                <a:moveTo>
                  <a:pt x="1633736" y="292491"/>
                </a:moveTo>
                <a:lnTo>
                  <a:pt x="1621144" y="306764"/>
                </a:lnTo>
                <a:lnTo>
                  <a:pt x="1631188" y="315087"/>
                </a:lnTo>
                <a:lnTo>
                  <a:pt x="1643380" y="300482"/>
                </a:lnTo>
                <a:lnTo>
                  <a:pt x="1633736" y="292491"/>
                </a:lnTo>
                <a:close/>
              </a:path>
              <a:path w="1685289" h="352425">
                <a:moveTo>
                  <a:pt x="1652905" y="270763"/>
                </a:moveTo>
                <a:lnTo>
                  <a:pt x="1633736" y="292491"/>
                </a:lnTo>
                <a:lnTo>
                  <a:pt x="1643380" y="300482"/>
                </a:lnTo>
                <a:lnTo>
                  <a:pt x="1631188" y="315087"/>
                </a:lnTo>
                <a:lnTo>
                  <a:pt x="1670790" y="315087"/>
                </a:lnTo>
                <a:lnTo>
                  <a:pt x="1652905" y="270763"/>
                </a:lnTo>
                <a:close/>
              </a:path>
              <a:path w="1685289" h="352425">
                <a:moveTo>
                  <a:pt x="1583689" y="252222"/>
                </a:moveTo>
                <a:lnTo>
                  <a:pt x="1572387" y="267588"/>
                </a:lnTo>
                <a:lnTo>
                  <a:pt x="1585976" y="277622"/>
                </a:lnTo>
                <a:lnTo>
                  <a:pt x="1621144" y="306764"/>
                </a:lnTo>
                <a:lnTo>
                  <a:pt x="1633736" y="292491"/>
                </a:lnTo>
                <a:lnTo>
                  <a:pt x="1598168" y="263017"/>
                </a:lnTo>
                <a:lnTo>
                  <a:pt x="1583689" y="252222"/>
                </a:lnTo>
                <a:close/>
              </a:path>
              <a:path w="1685289" h="352425">
                <a:moveTo>
                  <a:pt x="1472311" y="177292"/>
                </a:moveTo>
                <a:lnTo>
                  <a:pt x="1462532" y="193675"/>
                </a:lnTo>
                <a:lnTo>
                  <a:pt x="1488567" y="209296"/>
                </a:lnTo>
                <a:lnTo>
                  <a:pt x="1526286" y="234442"/>
                </a:lnTo>
                <a:lnTo>
                  <a:pt x="1536954" y="218694"/>
                </a:lnTo>
                <a:lnTo>
                  <a:pt x="1499108" y="193421"/>
                </a:lnTo>
                <a:lnTo>
                  <a:pt x="1472311" y="177292"/>
                </a:lnTo>
                <a:close/>
              </a:path>
              <a:path w="1685289" h="352425">
                <a:moveTo>
                  <a:pt x="1353693" y="114553"/>
                </a:moveTo>
                <a:lnTo>
                  <a:pt x="1345564" y="131825"/>
                </a:lnTo>
                <a:lnTo>
                  <a:pt x="1386586" y="151384"/>
                </a:lnTo>
                <a:lnTo>
                  <a:pt x="1413256" y="165608"/>
                </a:lnTo>
                <a:lnTo>
                  <a:pt x="1422273" y="148844"/>
                </a:lnTo>
                <a:lnTo>
                  <a:pt x="1395602" y="134493"/>
                </a:lnTo>
                <a:lnTo>
                  <a:pt x="1353693" y="114553"/>
                </a:lnTo>
                <a:close/>
              </a:path>
              <a:path w="1685289" h="352425">
                <a:moveTo>
                  <a:pt x="1228725" y="64770"/>
                </a:moveTo>
                <a:lnTo>
                  <a:pt x="1223010" y="82931"/>
                </a:lnTo>
                <a:lnTo>
                  <a:pt x="1226820" y="84200"/>
                </a:lnTo>
                <a:lnTo>
                  <a:pt x="1280922" y="103886"/>
                </a:lnTo>
                <a:lnTo>
                  <a:pt x="1293495" y="109220"/>
                </a:lnTo>
                <a:lnTo>
                  <a:pt x="1300861" y="91694"/>
                </a:lnTo>
                <a:lnTo>
                  <a:pt x="1288288" y="86360"/>
                </a:lnTo>
                <a:lnTo>
                  <a:pt x="1233424" y="66294"/>
                </a:lnTo>
                <a:lnTo>
                  <a:pt x="1228725" y="64770"/>
                </a:lnTo>
                <a:close/>
              </a:path>
              <a:path w="1685289" h="352425">
                <a:moveTo>
                  <a:pt x="1099312" y="29210"/>
                </a:moveTo>
                <a:lnTo>
                  <a:pt x="1095375" y="47751"/>
                </a:lnTo>
                <a:lnTo>
                  <a:pt x="1116965" y="52450"/>
                </a:lnTo>
                <a:lnTo>
                  <a:pt x="1168781" y="66039"/>
                </a:lnTo>
                <a:lnTo>
                  <a:pt x="1173734" y="47625"/>
                </a:lnTo>
                <a:lnTo>
                  <a:pt x="1121918" y="34036"/>
                </a:lnTo>
                <a:lnTo>
                  <a:pt x="1099312" y="29210"/>
                </a:lnTo>
                <a:close/>
              </a:path>
              <a:path w="1685289" h="352425">
                <a:moveTo>
                  <a:pt x="966978" y="7365"/>
                </a:moveTo>
                <a:lnTo>
                  <a:pt x="964692" y="26288"/>
                </a:lnTo>
                <a:lnTo>
                  <a:pt x="1005459" y="31114"/>
                </a:lnTo>
                <a:lnTo>
                  <a:pt x="1039749" y="36957"/>
                </a:lnTo>
                <a:lnTo>
                  <a:pt x="1042797" y="18161"/>
                </a:lnTo>
                <a:lnTo>
                  <a:pt x="1008634" y="12446"/>
                </a:lnTo>
                <a:lnTo>
                  <a:pt x="966978" y="7365"/>
                </a:lnTo>
                <a:close/>
              </a:path>
              <a:path w="1685289" h="352425">
                <a:moveTo>
                  <a:pt x="837057" y="0"/>
                </a:moveTo>
                <a:lnTo>
                  <a:pt x="832612" y="0"/>
                </a:lnTo>
                <a:lnTo>
                  <a:pt x="832993" y="19050"/>
                </a:lnTo>
                <a:lnTo>
                  <a:pt x="836549" y="19050"/>
                </a:lnTo>
                <a:lnTo>
                  <a:pt x="892937" y="20447"/>
                </a:lnTo>
                <a:lnTo>
                  <a:pt x="908177" y="21462"/>
                </a:lnTo>
                <a:lnTo>
                  <a:pt x="909574" y="2539"/>
                </a:lnTo>
                <a:lnTo>
                  <a:pt x="894334" y="1397"/>
                </a:lnTo>
                <a:lnTo>
                  <a:pt x="837057" y="0"/>
                </a:lnTo>
                <a:close/>
              </a:path>
              <a:path w="1685289" h="352425">
                <a:moveTo>
                  <a:pt x="774954" y="1397"/>
                </a:moveTo>
                <a:lnTo>
                  <a:pt x="722884" y="4952"/>
                </a:lnTo>
                <a:lnTo>
                  <a:pt x="698627" y="7747"/>
                </a:lnTo>
                <a:lnTo>
                  <a:pt x="700786" y="26670"/>
                </a:lnTo>
                <a:lnTo>
                  <a:pt x="724281" y="24002"/>
                </a:lnTo>
                <a:lnTo>
                  <a:pt x="776224" y="20447"/>
                </a:lnTo>
                <a:lnTo>
                  <a:pt x="774954" y="1397"/>
                </a:lnTo>
                <a:close/>
              </a:path>
              <a:path w="1685289" h="352425">
                <a:moveTo>
                  <a:pt x="641604" y="15494"/>
                </a:moveTo>
                <a:lnTo>
                  <a:pt x="609854" y="20574"/>
                </a:lnTo>
                <a:lnTo>
                  <a:pt x="566293" y="29845"/>
                </a:lnTo>
                <a:lnTo>
                  <a:pt x="570230" y="48513"/>
                </a:lnTo>
                <a:lnTo>
                  <a:pt x="612902" y="39370"/>
                </a:lnTo>
                <a:lnTo>
                  <a:pt x="644652" y="34289"/>
                </a:lnTo>
                <a:lnTo>
                  <a:pt x="641604" y="15494"/>
                </a:lnTo>
                <a:close/>
              </a:path>
              <a:path w="1685289" h="352425">
                <a:moveTo>
                  <a:pt x="510413" y="43814"/>
                </a:moveTo>
                <a:lnTo>
                  <a:pt x="498602" y="46989"/>
                </a:lnTo>
                <a:lnTo>
                  <a:pt x="443992" y="64135"/>
                </a:lnTo>
                <a:lnTo>
                  <a:pt x="436753" y="66801"/>
                </a:lnTo>
                <a:lnTo>
                  <a:pt x="443357" y="84709"/>
                </a:lnTo>
                <a:lnTo>
                  <a:pt x="449707" y="82296"/>
                </a:lnTo>
                <a:lnTo>
                  <a:pt x="503555" y="65405"/>
                </a:lnTo>
                <a:lnTo>
                  <a:pt x="515239" y="62357"/>
                </a:lnTo>
                <a:lnTo>
                  <a:pt x="510413" y="43814"/>
                </a:lnTo>
                <a:close/>
              </a:path>
              <a:path w="1685289" h="352425">
                <a:moveTo>
                  <a:pt x="382905" y="86995"/>
                </a:moveTo>
                <a:lnTo>
                  <a:pt x="337185" y="106425"/>
                </a:lnTo>
                <a:lnTo>
                  <a:pt x="312928" y="118237"/>
                </a:lnTo>
                <a:lnTo>
                  <a:pt x="321183" y="135382"/>
                </a:lnTo>
                <a:lnTo>
                  <a:pt x="344678" y="123951"/>
                </a:lnTo>
                <a:lnTo>
                  <a:pt x="390398" y="104521"/>
                </a:lnTo>
                <a:lnTo>
                  <a:pt x="382905" y="86995"/>
                </a:lnTo>
                <a:close/>
              </a:path>
              <a:path w="1685289" h="352425">
                <a:moveTo>
                  <a:pt x="261620" y="144525"/>
                </a:moveTo>
                <a:lnTo>
                  <a:pt x="234442" y="159385"/>
                </a:lnTo>
                <a:lnTo>
                  <a:pt x="195580" y="183387"/>
                </a:lnTo>
                <a:lnTo>
                  <a:pt x="205486" y="199517"/>
                </a:lnTo>
                <a:lnTo>
                  <a:pt x="243586" y="176149"/>
                </a:lnTo>
                <a:lnTo>
                  <a:pt x="270764" y="161289"/>
                </a:lnTo>
                <a:lnTo>
                  <a:pt x="261620" y="144525"/>
                </a:lnTo>
                <a:close/>
              </a:path>
              <a:path w="1685289" h="352425">
                <a:moveTo>
                  <a:pt x="147574" y="215392"/>
                </a:moveTo>
                <a:lnTo>
                  <a:pt x="136398" y="223138"/>
                </a:lnTo>
                <a:lnTo>
                  <a:pt x="89408" y="258952"/>
                </a:lnTo>
                <a:lnTo>
                  <a:pt x="85979" y="261747"/>
                </a:lnTo>
                <a:lnTo>
                  <a:pt x="98298" y="276225"/>
                </a:lnTo>
                <a:lnTo>
                  <a:pt x="100837" y="274065"/>
                </a:lnTo>
                <a:lnTo>
                  <a:pt x="147193" y="238760"/>
                </a:lnTo>
                <a:lnTo>
                  <a:pt x="158369" y="231139"/>
                </a:lnTo>
                <a:lnTo>
                  <a:pt x="147574" y="215392"/>
                </a:lnTo>
                <a:close/>
              </a:path>
              <a:path w="1685289" h="352425">
                <a:moveTo>
                  <a:pt x="42037" y="299085"/>
                </a:moveTo>
                <a:lnTo>
                  <a:pt x="0" y="338582"/>
                </a:lnTo>
                <a:lnTo>
                  <a:pt x="13081" y="352425"/>
                </a:lnTo>
                <a:lnTo>
                  <a:pt x="55118" y="313055"/>
                </a:lnTo>
                <a:lnTo>
                  <a:pt x="42037" y="299085"/>
                </a:lnTo>
                <a:close/>
              </a:path>
            </a:pathLst>
          </a:custGeom>
          <a:solidFill>
            <a:srgbClr val="A6A6A6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14" name="object 65">
            <a:extLst>
              <a:ext uri="{FF2B5EF4-FFF2-40B4-BE49-F238E27FC236}">
                <a16:creationId xmlns:a16="http://schemas.microsoft.com/office/drawing/2014/main" id="{2A989A70-F8B5-4775-8014-353E99E7A438}"/>
              </a:ext>
            </a:extLst>
          </p:cNvPr>
          <p:cNvSpPr/>
          <p:nvPr/>
        </p:nvSpPr>
        <p:spPr>
          <a:xfrm rot="17973879">
            <a:off x="5311807" y="2892615"/>
            <a:ext cx="682975" cy="134381"/>
          </a:xfrm>
          <a:custGeom>
            <a:avLst/>
            <a:gdLst/>
            <a:ahLst/>
            <a:cxnLst/>
            <a:rect l="l" t="t" r="r" b="b"/>
            <a:pathLst>
              <a:path w="1685289" h="352425">
                <a:moveTo>
                  <a:pt x="1621144" y="306764"/>
                </a:moveTo>
                <a:lnTo>
                  <a:pt x="1602486" y="327913"/>
                </a:lnTo>
                <a:lnTo>
                  <a:pt x="1684782" y="349758"/>
                </a:lnTo>
                <a:lnTo>
                  <a:pt x="1670790" y="315087"/>
                </a:lnTo>
                <a:lnTo>
                  <a:pt x="1631188" y="315087"/>
                </a:lnTo>
                <a:lnTo>
                  <a:pt x="1621144" y="306764"/>
                </a:lnTo>
                <a:close/>
              </a:path>
              <a:path w="1685289" h="352425">
                <a:moveTo>
                  <a:pt x="1633736" y="292491"/>
                </a:moveTo>
                <a:lnTo>
                  <a:pt x="1621144" y="306764"/>
                </a:lnTo>
                <a:lnTo>
                  <a:pt x="1631188" y="315087"/>
                </a:lnTo>
                <a:lnTo>
                  <a:pt x="1643380" y="300482"/>
                </a:lnTo>
                <a:lnTo>
                  <a:pt x="1633736" y="292491"/>
                </a:lnTo>
                <a:close/>
              </a:path>
              <a:path w="1685289" h="352425">
                <a:moveTo>
                  <a:pt x="1652905" y="270763"/>
                </a:moveTo>
                <a:lnTo>
                  <a:pt x="1633736" y="292491"/>
                </a:lnTo>
                <a:lnTo>
                  <a:pt x="1643380" y="300482"/>
                </a:lnTo>
                <a:lnTo>
                  <a:pt x="1631188" y="315087"/>
                </a:lnTo>
                <a:lnTo>
                  <a:pt x="1670790" y="315087"/>
                </a:lnTo>
                <a:lnTo>
                  <a:pt x="1652905" y="270763"/>
                </a:lnTo>
                <a:close/>
              </a:path>
              <a:path w="1685289" h="352425">
                <a:moveTo>
                  <a:pt x="1583689" y="252222"/>
                </a:moveTo>
                <a:lnTo>
                  <a:pt x="1572387" y="267588"/>
                </a:lnTo>
                <a:lnTo>
                  <a:pt x="1585976" y="277622"/>
                </a:lnTo>
                <a:lnTo>
                  <a:pt x="1621144" y="306764"/>
                </a:lnTo>
                <a:lnTo>
                  <a:pt x="1633736" y="292491"/>
                </a:lnTo>
                <a:lnTo>
                  <a:pt x="1598168" y="263017"/>
                </a:lnTo>
                <a:lnTo>
                  <a:pt x="1583689" y="252222"/>
                </a:lnTo>
                <a:close/>
              </a:path>
              <a:path w="1685289" h="352425">
                <a:moveTo>
                  <a:pt x="1472311" y="177292"/>
                </a:moveTo>
                <a:lnTo>
                  <a:pt x="1462532" y="193675"/>
                </a:lnTo>
                <a:lnTo>
                  <a:pt x="1488567" y="209296"/>
                </a:lnTo>
                <a:lnTo>
                  <a:pt x="1526286" y="234442"/>
                </a:lnTo>
                <a:lnTo>
                  <a:pt x="1536954" y="218694"/>
                </a:lnTo>
                <a:lnTo>
                  <a:pt x="1499108" y="193421"/>
                </a:lnTo>
                <a:lnTo>
                  <a:pt x="1472311" y="177292"/>
                </a:lnTo>
                <a:close/>
              </a:path>
              <a:path w="1685289" h="352425">
                <a:moveTo>
                  <a:pt x="1353693" y="114553"/>
                </a:moveTo>
                <a:lnTo>
                  <a:pt x="1345564" y="131825"/>
                </a:lnTo>
                <a:lnTo>
                  <a:pt x="1386586" y="151384"/>
                </a:lnTo>
                <a:lnTo>
                  <a:pt x="1413256" y="165608"/>
                </a:lnTo>
                <a:lnTo>
                  <a:pt x="1422273" y="148844"/>
                </a:lnTo>
                <a:lnTo>
                  <a:pt x="1395602" y="134493"/>
                </a:lnTo>
                <a:lnTo>
                  <a:pt x="1353693" y="114553"/>
                </a:lnTo>
                <a:close/>
              </a:path>
              <a:path w="1685289" h="352425">
                <a:moveTo>
                  <a:pt x="1228725" y="64770"/>
                </a:moveTo>
                <a:lnTo>
                  <a:pt x="1223010" y="82931"/>
                </a:lnTo>
                <a:lnTo>
                  <a:pt x="1226820" y="84200"/>
                </a:lnTo>
                <a:lnTo>
                  <a:pt x="1280922" y="103886"/>
                </a:lnTo>
                <a:lnTo>
                  <a:pt x="1293495" y="109220"/>
                </a:lnTo>
                <a:lnTo>
                  <a:pt x="1300861" y="91694"/>
                </a:lnTo>
                <a:lnTo>
                  <a:pt x="1288288" y="86360"/>
                </a:lnTo>
                <a:lnTo>
                  <a:pt x="1233424" y="66294"/>
                </a:lnTo>
                <a:lnTo>
                  <a:pt x="1228725" y="64770"/>
                </a:lnTo>
                <a:close/>
              </a:path>
              <a:path w="1685289" h="352425">
                <a:moveTo>
                  <a:pt x="1099312" y="29210"/>
                </a:moveTo>
                <a:lnTo>
                  <a:pt x="1095375" y="47751"/>
                </a:lnTo>
                <a:lnTo>
                  <a:pt x="1116965" y="52450"/>
                </a:lnTo>
                <a:lnTo>
                  <a:pt x="1168781" y="66039"/>
                </a:lnTo>
                <a:lnTo>
                  <a:pt x="1173734" y="47625"/>
                </a:lnTo>
                <a:lnTo>
                  <a:pt x="1121918" y="34036"/>
                </a:lnTo>
                <a:lnTo>
                  <a:pt x="1099312" y="29210"/>
                </a:lnTo>
                <a:close/>
              </a:path>
              <a:path w="1685289" h="352425">
                <a:moveTo>
                  <a:pt x="966978" y="7365"/>
                </a:moveTo>
                <a:lnTo>
                  <a:pt x="964692" y="26288"/>
                </a:lnTo>
                <a:lnTo>
                  <a:pt x="1005459" y="31114"/>
                </a:lnTo>
                <a:lnTo>
                  <a:pt x="1039749" y="36957"/>
                </a:lnTo>
                <a:lnTo>
                  <a:pt x="1042797" y="18161"/>
                </a:lnTo>
                <a:lnTo>
                  <a:pt x="1008634" y="12446"/>
                </a:lnTo>
                <a:lnTo>
                  <a:pt x="966978" y="7365"/>
                </a:lnTo>
                <a:close/>
              </a:path>
              <a:path w="1685289" h="352425">
                <a:moveTo>
                  <a:pt x="837057" y="0"/>
                </a:moveTo>
                <a:lnTo>
                  <a:pt x="832612" y="0"/>
                </a:lnTo>
                <a:lnTo>
                  <a:pt x="832993" y="19050"/>
                </a:lnTo>
                <a:lnTo>
                  <a:pt x="836549" y="19050"/>
                </a:lnTo>
                <a:lnTo>
                  <a:pt x="892937" y="20447"/>
                </a:lnTo>
                <a:lnTo>
                  <a:pt x="908177" y="21462"/>
                </a:lnTo>
                <a:lnTo>
                  <a:pt x="909574" y="2539"/>
                </a:lnTo>
                <a:lnTo>
                  <a:pt x="894334" y="1397"/>
                </a:lnTo>
                <a:lnTo>
                  <a:pt x="837057" y="0"/>
                </a:lnTo>
                <a:close/>
              </a:path>
              <a:path w="1685289" h="352425">
                <a:moveTo>
                  <a:pt x="774954" y="1397"/>
                </a:moveTo>
                <a:lnTo>
                  <a:pt x="722884" y="4952"/>
                </a:lnTo>
                <a:lnTo>
                  <a:pt x="698627" y="7747"/>
                </a:lnTo>
                <a:lnTo>
                  <a:pt x="700786" y="26670"/>
                </a:lnTo>
                <a:lnTo>
                  <a:pt x="724281" y="24002"/>
                </a:lnTo>
                <a:lnTo>
                  <a:pt x="776224" y="20447"/>
                </a:lnTo>
                <a:lnTo>
                  <a:pt x="774954" y="1397"/>
                </a:lnTo>
                <a:close/>
              </a:path>
              <a:path w="1685289" h="352425">
                <a:moveTo>
                  <a:pt x="641604" y="15494"/>
                </a:moveTo>
                <a:lnTo>
                  <a:pt x="609854" y="20574"/>
                </a:lnTo>
                <a:lnTo>
                  <a:pt x="566293" y="29845"/>
                </a:lnTo>
                <a:lnTo>
                  <a:pt x="570230" y="48513"/>
                </a:lnTo>
                <a:lnTo>
                  <a:pt x="612902" y="39370"/>
                </a:lnTo>
                <a:lnTo>
                  <a:pt x="644652" y="34289"/>
                </a:lnTo>
                <a:lnTo>
                  <a:pt x="641604" y="15494"/>
                </a:lnTo>
                <a:close/>
              </a:path>
              <a:path w="1685289" h="352425">
                <a:moveTo>
                  <a:pt x="510413" y="43814"/>
                </a:moveTo>
                <a:lnTo>
                  <a:pt x="498602" y="46989"/>
                </a:lnTo>
                <a:lnTo>
                  <a:pt x="443992" y="64135"/>
                </a:lnTo>
                <a:lnTo>
                  <a:pt x="436753" y="66801"/>
                </a:lnTo>
                <a:lnTo>
                  <a:pt x="443357" y="84709"/>
                </a:lnTo>
                <a:lnTo>
                  <a:pt x="449707" y="82296"/>
                </a:lnTo>
                <a:lnTo>
                  <a:pt x="503555" y="65405"/>
                </a:lnTo>
                <a:lnTo>
                  <a:pt x="515239" y="62357"/>
                </a:lnTo>
                <a:lnTo>
                  <a:pt x="510413" y="43814"/>
                </a:lnTo>
                <a:close/>
              </a:path>
              <a:path w="1685289" h="352425">
                <a:moveTo>
                  <a:pt x="382905" y="86995"/>
                </a:moveTo>
                <a:lnTo>
                  <a:pt x="337185" y="106425"/>
                </a:lnTo>
                <a:lnTo>
                  <a:pt x="312928" y="118237"/>
                </a:lnTo>
                <a:lnTo>
                  <a:pt x="321183" y="135382"/>
                </a:lnTo>
                <a:lnTo>
                  <a:pt x="344678" y="123951"/>
                </a:lnTo>
                <a:lnTo>
                  <a:pt x="390398" y="104521"/>
                </a:lnTo>
                <a:lnTo>
                  <a:pt x="382905" y="86995"/>
                </a:lnTo>
                <a:close/>
              </a:path>
              <a:path w="1685289" h="352425">
                <a:moveTo>
                  <a:pt x="261620" y="144525"/>
                </a:moveTo>
                <a:lnTo>
                  <a:pt x="234442" y="159385"/>
                </a:lnTo>
                <a:lnTo>
                  <a:pt x="195580" y="183387"/>
                </a:lnTo>
                <a:lnTo>
                  <a:pt x="205486" y="199517"/>
                </a:lnTo>
                <a:lnTo>
                  <a:pt x="243586" y="176149"/>
                </a:lnTo>
                <a:lnTo>
                  <a:pt x="270764" y="161289"/>
                </a:lnTo>
                <a:lnTo>
                  <a:pt x="261620" y="144525"/>
                </a:lnTo>
                <a:close/>
              </a:path>
              <a:path w="1685289" h="352425">
                <a:moveTo>
                  <a:pt x="147574" y="215392"/>
                </a:moveTo>
                <a:lnTo>
                  <a:pt x="136398" y="223138"/>
                </a:lnTo>
                <a:lnTo>
                  <a:pt x="89408" y="258952"/>
                </a:lnTo>
                <a:lnTo>
                  <a:pt x="85979" y="261747"/>
                </a:lnTo>
                <a:lnTo>
                  <a:pt x="98298" y="276225"/>
                </a:lnTo>
                <a:lnTo>
                  <a:pt x="100837" y="274065"/>
                </a:lnTo>
                <a:lnTo>
                  <a:pt x="147193" y="238760"/>
                </a:lnTo>
                <a:lnTo>
                  <a:pt x="158369" y="231139"/>
                </a:lnTo>
                <a:lnTo>
                  <a:pt x="147574" y="215392"/>
                </a:lnTo>
                <a:close/>
              </a:path>
              <a:path w="1685289" h="352425">
                <a:moveTo>
                  <a:pt x="42037" y="299085"/>
                </a:moveTo>
                <a:lnTo>
                  <a:pt x="0" y="338582"/>
                </a:lnTo>
                <a:lnTo>
                  <a:pt x="13081" y="352425"/>
                </a:lnTo>
                <a:lnTo>
                  <a:pt x="55118" y="313055"/>
                </a:lnTo>
                <a:lnTo>
                  <a:pt x="42037" y="299085"/>
                </a:lnTo>
                <a:close/>
              </a:path>
            </a:pathLst>
          </a:custGeom>
          <a:solidFill>
            <a:srgbClr val="A6A6A6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15" name="object 21">
            <a:extLst>
              <a:ext uri="{FF2B5EF4-FFF2-40B4-BE49-F238E27FC236}">
                <a16:creationId xmlns:a16="http://schemas.microsoft.com/office/drawing/2014/main" id="{AF030378-83F5-4491-B023-BE93771547B9}"/>
              </a:ext>
            </a:extLst>
          </p:cNvPr>
          <p:cNvSpPr txBox="1"/>
          <p:nvPr/>
        </p:nvSpPr>
        <p:spPr>
          <a:xfrm>
            <a:off x="1833273" y="4320712"/>
            <a:ext cx="1697443" cy="4154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pPr marL="12700" marR="5080" lvl="0" indent="635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-1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Mottar</a:t>
            </a:r>
            <a:r>
              <a:rPr kumimoji="0" lang="en-US" sz="900" b="0" i="0" u="none" strike="noStrike" kern="1200" cap="none" spc="-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 </a:t>
            </a:r>
            <a:r>
              <a:rPr kumimoji="0" lang="en-US" sz="900" b="0" i="0" u="none" strike="noStrike" kern="1200" cap="none" spc="-1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behovsinnmelding</a:t>
            </a:r>
            <a:r>
              <a:rPr kumimoji="0" lang="en-US" sz="900" b="0" i="0" u="none" strike="noStrike" kern="1200" cap="none" spc="-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 </a:t>
            </a:r>
            <a:r>
              <a:rPr kumimoji="0" lang="en-US" sz="900" b="0" i="0" u="none" strike="noStrike" kern="1200" cap="none" spc="-1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og</a:t>
            </a:r>
            <a:r>
              <a:rPr kumimoji="0" lang="en-US" sz="900" b="0" i="0" u="none" strike="noStrike" kern="1200" cap="none" spc="-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 </a:t>
            </a:r>
            <a:r>
              <a:rPr kumimoji="0" lang="en-US" sz="900" b="0" i="0" u="none" strike="noStrike" kern="1200" cap="none" spc="-1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oppretter</a:t>
            </a:r>
            <a:r>
              <a:rPr kumimoji="0" lang="en-US" sz="900" b="0" i="0" u="none" strike="noStrike" kern="1200" cap="none" spc="-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 </a:t>
            </a:r>
            <a:r>
              <a:rPr kumimoji="0" lang="en-US" sz="900" b="0" i="0" u="none" strike="noStrike" kern="1200" cap="none" spc="-1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innkjøpsforespørsel</a:t>
            </a:r>
            <a:r>
              <a:rPr kumimoji="0" lang="en-US" sz="900" b="0" i="0" u="none" strike="noStrike" kern="1200" cap="none" spc="-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 I Unit4 ERP</a:t>
            </a:r>
          </a:p>
        </p:txBody>
      </p:sp>
      <p:sp>
        <p:nvSpPr>
          <p:cNvPr id="16" name="object 52">
            <a:extLst>
              <a:ext uri="{FF2B5EF4-FFF2-40B4-BE49-F238E27FC236}">
                <a16:creationId xmlns:a16="http://schemas.microsoft.com/office/drawing/2014/main" id="{B2EEC503-D87C-42A2-B0CC-0E156A6BC24E}"/>
              </a:ext>
            </a:extLst>
          </p:cNvPr>
          <p:cNvSpPr txBox="1"/>
          <p:nvPr/>
        </p:nvSpPr>
        <p:spPr>
          <a:xfrm>
            <a:off x="3907532" y="3239142"/>
            <a:ext cx="782447" cy="24770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 lvl="0" indent="0" algn="ctr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-5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Innkjøpsordre</a:t>
            </a:r>
            <a:r>
              <a:rPr kumimoji="0" lang="en-US" sz="900" b="0" i="0" u="none" strike="noStrike" kern="1200" cap="none" spc="-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 </a:t>
            </a:r>
            <a:r>
              <a:rPr kumimoji="0" lang="en-US" sz="900" b="0" i="0" u="none" strike="noStrike" kern="1200" cap="none" spc="-5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sendes</a:t>
            </a:r>
            <a:endParaRPr kumimoji="0" lang="en-US" sz="900" b="0" i="0" u="none" strike="noStrike" kern="1200" cap="none" spc="-5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Verdana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5CD6C092-4EB0-4390-A68A-DFDB24F244AC}"/>
              </a:ext>
            </a:extLst>
          </p:cNvPr>
          <p:cNvGrpSpPr/>
          <p:nvPr/>
        </p:nvGrpSpPr>
        <p:grpSpPr>
          <a:xfrm>
            <a:off x="4609495" y="2275619"/>
            <a:ext cx="389898" cy="468510"/>
            <a:chOff x="6267547" y="1891446"/>
            <a:chExt cx="692727" cy="768296"/>
          </a:xfrm>
        </p:grpSpPr>
        <p:sp>
          <p:nvSpPr>
            <p:cNvPr id="82" name="object 40">
              <a:extLst>
                <a:ext uri="{FF2B5EF4-FFF2-40B4-BE49-F238E27FC236}">
                  <a16:creationId xmlns:a16="http://schemas.microsoft.com/office/drawing/2014/main" id="{000E4599-A5B0-4B57-999F-F3D73C69EC66}"/>
                </a:ext>
              </a:extLst>
            </p:cNvPr>
            <p:cNvSpPr/>
            <p:nvPr/>
          </p:nvSpPr>
          <p:spPr>
            <a:xfrm>
              <a:off x="6267547" y="1891446"/>
              <a:ext cx="692727" cy="768296"/>
            </a:xfrm>
            <a:prstGeom prst="rect">
              <a:avLst/>
            </a:prstGeom>
            <a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83" name="object 43">
              <a:extLst>
                <a:ext uri="{FF2B5EF4-FFF2-40B4-BE49-F238E27FC236}">
                  <a16:creationId xmlns:a16="http://schemas.microsoft.com/office/drawing/2014/main" id="{214F255A-BBF8-4BF5-85C5-BE27FA4EDFC1}"/>
                </a:ext>
              </a:extLst>
            </p:cNvPr>
            <p:cNvSpPr/>
            <p:nvPr/>
          </p:nvSpPr>
          <p:spPr>
            <a:xfrm>
              <a:off x="6441454" y="2057207"/>
              <a:ext cx="203678" cy="218975"/>
            </a:xfrm>
            <a:prstGeom prst="rect">
              <a:avLst/>
            </a:prstGeom>
            <a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grpSp>
          <p:nvGrpSpPr>
            <p:cNvPr id="84" name="Group 83">
              <a:extLst>
                <a:ext uri="{FF2B5EF4-FFF2-40B4-BE49-F238E27FC236}">
                  <a16:creationId xmlns:a16="http://schemas.microsoft.com/office/drawing/2014/main" id="{E05F06A8-4BFA-42EF-BC2F-97A67BB68BAE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661374" y="2067595"/>
              <a:ext cx="125494" cy="125495"/>
              <a:chOff x="5060951" y="5997575"/>
              <a:chExt cx="247650" cy="247651"/>
            </a:xfrm>
          </p:grpSpPr>
          <p:sp>
            <p:nvSpPr>
              <p:cNvPr id="85" name="Freeform 328">
                <a:extLst>
                  <a:ext uri="{FF2B5EF4-FFF2-40B4-BE49-F238E27FC236}">
                    <a16:creationId xmlns:a16="http://schemas.microsoft.com/office/drawing/2014/main" id="{D8A459A7-71EA-4543-A983-1B1E23916A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3338" y="6189663"/>
                <a:ext cx="55563" cy="55563"/>
              </a:xfrm>
              <a:custGeom>
                <a:avLst/>
                <a:gdLst>
                  <a:gd name="T0" fmla="*/ 36 w 71"/>
                  <a:gd name="T1" fmla="*/ 0 h 71"/>
                  <a:gd name="T2" fmla="*/ 36 w 71"/>
                  <a:gd name="T3" fmla="*/ 0 h 71"/>
                  <a:gd name="T4" fmla="*/ 28 w 71"/>
                  <a:gd name="T5" fmla="*/ 0 h 71"/>
                  <a:gd name="T6" fmla="*/ 21 w 71"/>
                  <a:gd name="T7" fmla="*/ 2 h 71"/>
                  <a:gd name="T8" fmla="*/ 16 w 71"/>
                  <a:gd name="T9" fmla="*/ 5 h 71"/>
                  <a:gd name="T10" fmla="*/ 10 w 71"/>
                  <a:gd name="T11" fmla="*/ 10 h 71"/>
                  <a:gd name="T12" fmla="*/ 5 w 71"/>
                  <a:gd name="T13" fmla="*/ 16 h 71"/>
                  <a:gd name="T14" fmla="*/ 2 w 71"/>
                  <a:gd name="T15" fmla="*/ 21 h 71"/>
                  <a:gd name="T16" fmla="*/ 0 w 71"/>
                  <a:gd name="T17" fmla="*/ 28 h 71"/>
                  <a:gd name="T18" fmla="*/ 0 w 71"/>
                  <a:gd name="T19" fmla="*/ 34 h 71"/>
                  <a:gd name="T20" fmla="*/ 0 w 71"/>
                  <a:gd name="T21" fmla="*/ 34 h 71"/>
                  <a:gd name="T22" fmla="*/ 0 w 71"/>
                  <a:gd name="T23" fmla="*/ 43 h 71"/>
                  <a:gd name="T24" fmla="*/ 2 w 71"/>
                  <a:gd name="T25" fmla="*/ 49 h 71"/>
                  <a:gd name="T26" fmla="*/ 5 w 71"/>
                  <a:gd name="T27" fmla="*/ 55 h 71"/>
                  <a:gd name="T28" fmla="*/ 10 w 71"/>
                  <a:gd name="T29" fmla="*/ 60 h 71"/>
                  <a:gd name="T30" fmla="*/ 16 w 71"/>
                  <a:gd name="T31" fmla="*/ 65 h 71"/>
                  <a:gd name="T32" fmla="*/ 21 w 71"/>
                  <a:gd name="T33" fmla="*/ 68 h 71"/>
                  <a:gd name="T34" fmla="*/ 28 w 71"/>
                  <a:gd name="T35" fmla="*/ 71 h 71"/>
                  <a:gd name="T36" fmla="*/ 36 w 71"/>
                  <a:gd name="T37" fmla="*/ 71 h 71"/>
                  <a:gd name="T38" fmla="*/ 36 w 71"/>
                  <a:gd name="T39" fmla="*/ 71 h 71"/>
                  <a:gd name="T40" fmla="*/ 43 w 71"/>
                  <a:gd name="T41" fmla="*/ 71 h 71"/>
                  <a:gd name="T42" fmla="*/ 49 w 71"/>
                  <a:gd name="T43" fmla="*/ 68 h 71"/>
                  <a:gd name="T44" fmla="*/ 56 w 71"/>
                  <a:gd name="T45" fmla="*/ 65 h 71"/>
                  <a:gd name="T46" fmla="*/ 60 w 71"/>
                  <a:gd name="T47" fmla="*/ 60 h 71"/>
                  <a:gd name="T48" fmla="*/ 65 w 71"/>
                  <a:gd name="T49" fmla="*/ 55 h 71"/>
                  <a:gd name="T50" fmla="*/ 68 w 71"/>
                  <a:gd name="T51" fmla="*/ 49 h 71"/>
                  <a:gd name="T52" fmla="*/ 71 w 71"/>
                  <a:gd name="T53" fmla="*/ 43 h 71"/>
                  <a:gd name="T54" fmla="*/ 71 w 71"/>
                  <a:gd name="T55" fmla="*/ 34 h 71"/>
                  <a:gd name="T56" fmla="*/ 71 w 71"/>
                  <a:gd name="T57" fmla="*/ 34 h 71"/>
                  <a:gd name="T58" fmla="*/ 71 w 71"/>
                  <a:gd name="T59" fmla="*/ 28 h 71"/>
                  <a:gd name="T60" fmla="*/ 68 w 71"/>
                  <a:gd name="T61" fmla="*/ 21 h 71"/>
                  <a:gd name="T62" fmla="*/ 65 w 71"/>
                  <a:gd name="T63" fmla="*/ 16 h 71"/>
                  <a:gd name="T64" fmla="*/ 60 w 71"/>
                  <a:gd name="T65" fmla="*/ 10 h 71"/>
                  <a:gd name="T66" fmla="*/ 56 w 71"/>
                  <a:gd name="T67" fmla="*/ 5 h 71"/>
                  <a:gd name="T68" fmla="*/ 49 w 71"/>
                  <a:gd name="T69" fmla="*/ 2 h 71"/>
                  <a:gd name="T70" fmla="*/ 43 w 71"/>
                  <a:gd name="T71" fmla="*/ 0 h 71"/>
                  <a:gd name="T72" fmla="*/ 36 w 71"/>
                  <a:gd name="T73" fmla="*/ 0 h 71"/>
                  <a:gd name="T74" fmla="*/ 36 w 71"/>
                  <a:gd name="T75" fmla="*/ 0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1" h="71">
                    <a:moveTo>
                      <a:pt x="36" y="0"/>
                    </a:moveTo>
                    <a:lnTo>
                      <a:pt x="36" y="0"/>
                    </a:lnTo>
                    <a:lnTo>
                      <a:pt x="28" y="0"/>
                    </a:lnTo>
                    <a:lnTo>
                      <a:pt x="21" y="2"/>
                    </a:lnTo>
                    <a:lnTo>
                      <a:pt x="16" y="5"/>
                    </a:lnTo>
                    <a:lnTo>
                      <a:pt x="10" y="10"/>
                    </a:lnTo>
                    <a:lnTo>
                      <a:pt x="5" y="16"/>
                    </a:lnTo>
                    <a:lnTo>
                      <a:pt x="2" y="21"/>
                    </a:lnTo>
                    <a:lnTo>
                      <a:pt x="0" y="28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43"/>
                    </a:lnTo>
                    <a:lnTo>
                      <a:pt x="2" y="49"/>
                    </a:lnTo>
                    <a:lnTo>
                      <a:pt x="5" y="55"/>
                    </a:lnTo>
                    <a:lnTo>
                      <a:pt x="10" y="60"/>
                    </a:lnTo>
                    <a:lnTo>
                      <a:pt x="16" y="65"/>
                    </a:lnTo>
                    <a:lnTo>
                      <a:pt x="21" y="68"/>
                    </a:lnTo>
                    <a:lnTo>
                      <a:pt x="28" y="71"/>
                    </a:lnTo>
                    <a:lnTo>
                      <a:pt x="36" y="71"/>
                    </a:lnTo>
                    <a:lnTo>
                      <a:pt x="36" y="71"/>
                    </a:lnTo>
                    <a:lnTo>
                      <a:pt x="43" y="71"/>
                    </a:lnTo>
                    <a:lnTo>
                      <a:pt x="49" y="68"/>
                    </a:lnTo>
                    <a:lnTo>
                      <a:pt x="56" y="65"/>
                    </a:lnTo>
                    <a:lnTo>
                      <a:pt x="60" y="60"/>
                    </a:lnTo>
                    <a:lnTo>
                      <a:pt x="65" y="55"/>
                    </a:lnTo>
                    <a:lnTo>
                      <a:pt x="68" y="49"/>
                    </a:lnTo>
                    <a:lnTo>
                      <a:pt x="71" y="43"/>
                    </a:lnTo>
                    <a:lnTo>
                      <a:pt x="71" y="34"/>
                    </a:lnTo>
                    <a:lnTo>
                      <a:pt x="71" y="34"/>
                    </a:lnTo>
                    <a:lnTo>
                      <a:pt x="71" y="28"/>
                    </a:lnTo>
                    <a:lnTo>
                      <a:pt x="68" y="21"/>
                    </a:lnTo>
                    <a:lnTo>
                      <a:pt x="65" y="16"/>
                    </a:lnTo>
                    <a:lnTo>
                      <a:pt x="60" y="10"/>
                    </a:lnTo>
                    <a:lnTo>
                      <a:pt x="56" y="5"/>
                    </a:lnTo>
                    <a:lnTo>
                      <a:pt x="49" y="2"/>
                    </a:lnTo>
                    <a:lnTo>
                      <a:pt x="43" y="0"/>
                    </a:lnTo>
                    <a:lnTo>
                      <a:pt x="36" y="0"/>
                    </a:lnTo>
                    <a:lnTo>
                      <a:pt x="36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C5C5C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86" name="Freeform 329">
                <a:extLst>
                  <a:ext uri="{FF2B5EF4-FFF2-40B4-BE49-F238E27FC236}">
                    <a16:creationId xmlns:a16="http://schemas.microsoft.com/office/drawing/2014/main" id="{E2D77E4D-8D0D-4143-9D95-AC473A58A6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43513" y="6189663"/>
                <a:ext cx="58738" cy="55563"/>
              </a:xfrm>
              <a:custGeom>
                <a:avLst/>
                <a:gdLst>
                  <a:gd name="T0" fmla="*/ 36 w 72"/>
                  <a:gd name="T1" fmla="*/ 0 h 71"/>
                  <a:gd name="T2" fmla="*/ 36 w 72"/>
                  <a:gd name="T3" fmla="*/ 0 h 71"/>
                  <a:gd name="T4" fmla="*/ 29 w 72"/>
                  <a:gd name="T5" fmla="*/ 0 h 71"/>
                  <a:gd name="T6" fmla="*/ 23 w 72"/>
                  <a:gd name="T7" fmla="*/ 2 h 71"/>
                  <a:gd name="T8" fmla="*/ 16 w 72"/>
                  <a:gd name="T9" fmla="*/ 5 h 71"/>
                  <a:gd name="T10" fmla="*/ 11 w 72"/>
                  <a:gd name="T11" fmla="*/ 10 h 71"/>
                  <a:gd name="T12" fmla="*/ 6 w 72"/>
                  <a:gd name="T13" fmla="*/ 16 h 71"/>
                  <a:gd name="T14" fmla="*/ 4 w 72"/>
                  <a:gd name="T15" fmla="*/ 21 h 71"/>
                  <a:gd name="T16" fmla="*/ 1 w 72"/>
                  <a:gd name="T17" fmla="*/ 28 h 71"/>
                  <a:gd name="T18" fmla="*/ 0 w 72"/>
                  <a:gd name="T19" fmla="*/ 34 h 71"/>
                  <a:gd name="T20" fmla="*/ 0 w 72"/>
                  <a:gd name="T21" fmla="*/ 34 h 71"/>
                  <a:gd name="T22" fmla="*/ 1 w 72"/>
                  <a:gd name="T23" fmla="*/ 43 h 71"/>
                  <a:gd name="T24" fmla="*/ 4 w 72"/>
                  <a:gd name="T25" fmla="*/ 49 h 71"/>
                  <a:gd name="T26" fmla="*/ 6 w 72"/>
                  <a:gd name="T27" fmla="*/ 55 h 71"/>
                  <a:gd name="T28" fmla="*/ 11 w 72"/>
                  <a:gd name="T29" fmla="*/ 60 h 71"/>
                  <a:gd name="T30" fmla="*/ 16 w 72"/>
                  <a:gd name="T31" fmla="*/ 65 h 71"/>
                  <a:gd name="T32" fmla="*/ 23 w 72"/>
                  <a:gd name="T33" fmla="*/ 68 h 71"/>
                  <a:gd name="T34" fmla="*/ 29 w 72"/>
                  <a:gd name="T35" fmla="*/ 71 h 71"/>
                  <a:gd name="T36" fmla="*/ 36 w 72"/>
                  <a:gd name="T37" fmla="*/ 71 h 71"/>
                  <a:gd name="T38" fmla="*/ 36 w 72"/>
                  <a:gd name="T39" fmla="*/ 71 h 71"/>
                  <a:gd name="T40" fmla="*/ 44 w 72"/>
                  <a:gd name="T41" fmla="*/ 71 h 71"/>
                  <a:gd name="T42" fmla="*/ 51 w 72"/>
                  <a:gd name="T43" fmla="*/ 68 h 71"/>
                  <a:gd name="T44" fmla="*/ 56 w 72"/>
                  <a:gd name="T45" fmla="*/ 65 h 71"/>
                  <a:gd name="T46" fmla="*/ 62 w 72"/>
                  <a:gd name="T47" fmla="*/ 60 h 71"/>
                  <a:gd name="T48" fmla="*/ 66 w 72"/>
                  <a:gd name="T49" fmla="*/ 55 h 71"/>
                  <a:gd name="T50" fmla="*/ 70 w 72"/>
                  <a:gd name="T51" fmla="*/ 49 h 71"/>
                  <a:gd name="T52" fmla="*/ 71 w 72"/>
                  <a:gd name="T53" fmla="*/ 43 h 71"/>
                  <a:gd name="T54" fmla="*/ 72 w 72"/>
                  <a:gd name="T55" fmla="*/ 34 h 71"/>
                  <a:gd name="T56" fmla="*/ 72 w 72"/>
                  <a:gd name="T57" fmla="*/ 34 h 71"/>
                  <a:gd name="T58" fmla="*/ 71 w 72"/>
                  <a:gd name="T59" fmla="*/ 28 h 71"/>
                  <a:gd name="T60" fmla="*/ 70 w 72"/>
                  <a:gd name="T61" fmla="*/ 21 h 71"/>
                  <a:gd name="T62" fmla="*/ 66 w 72"/>
                  <a:gd name="T63" fmla="*/ 16 h 71"/>
                  <a:gd name="T64" fmla="*/ 62 w 72"/>
                  <a:gd name="T65" fmla="*/ 10 h 71"/>
                  <a:gd name="T66" fmla="*/ 56 w 72"/>
                  <a:gd name="T67" fmla="*/ 5 h 71"/>
                  <a:gd name="T68" fmla="*/ 51 w 72"/>
                  <a:gd name="T69" fmla="*/ 2 h 71"/>
                  <a:gd name="T70" fmla="*/ 44 w 72"/>
                  <a:gd name="T71" fmla="*/ 0 h 71"/>
                  <a:gd name="T72" fmla="*/ 36 w 72"/>
                  <a:gd name="T73" fmla="*/ 0 h 71"/>
                  <a:gd name="T74" fmla="*/ 36 w 72"/>
                  <a:gd name="T75" fmla="*/ 0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2" h="71">
                    <a:moveTo>
                      <a:pt x="36" y="0"/>
                    </a:moveTo>
                    <a:lnTo>
                      <a:pt x="36" y="0"/>
                    </a:lnTo>
                    <a:lnTo>
                      <a:pt x="29" y="0"/>
                    </a:lnTo>
                    <a:lnTo>
                      <a:pt x="23" y="2"/>
                    </a:lnTo>
                    <a:lnTo>
                      <a:pt x="16" y="5"/>
                    </a:lnTo>
                    <a:lnTo>
                      <a:pt x="11" y="10"/>
                    </a:lnTo>
                    <a:lnTo>
                      <a:pt x="6" y="16"/>
                    </a:lnTo>
                    <a:lnTo>
                      <a:pt x="4" y="21"/>
                    </a:lnTo>
                    <a:lnTo>
                      <a:pt x="1" y="28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1" y="43"/>
                    </a:lnTo>
                    <a:lnTo>
                      <a:pt x="4" y="49"/>
                    </a:lnTo>
                    <a:lnTo>
                      <a:pt x="6" y="55"/>
                    </a:lnTo>
                    <a:lnTo>
                      <a:pt x="11" y="60"/>
                    </a:lnTo>
                    <a:lnTo>
                      <a:pt x="16" y="65"/>
                    </a:lnTo>
                    <a:lnTo>
                      <a:pt x="23" y="68"/>
                    </a:lnTo>
                    <a:lnTo>
                      <a:pt x="29" y="71"/>
                    </a:lnTo>
                    <a:lnTo>
                      <a:pt x="36" y="71"/>
                    </a:lnTo>
                    <a:lnTo>
                      <a:pt x="36" y="71"/>
                    </a:lnTo>
                    <a:lnTo>
                      <a:pt x="44" y="71"/>
                    </a:lnTo>
                    <a:lnTo>
                      <a:pt x="51" y="68"/>
                    </a:lnTo>
                    <a:lnTo>
                      <a:pt x="56" y="65"/>
                    </a:lnTo>
                    <a:lnTo>
                      <a:pt x="62" y="60"/>
                    </a:lnTo>
                    <a:lnTo>
                      <a:pt x="66" y="55"/>
                    </a:lnTo>
                    <a:lnTo>
                      <a:pt x="70" y="49"/>
                    </a:lnTo>
                    <a:lnTo>
                      <a:pt x="71" y="43"/>
                    </a:lnTo>
                    <a:lnTo>
                      <a:pt x="72" y="34"/>
                    </a:lnTo>
                    <a:lnTo>
                      <a:pt x="72" y="34"/>
                    </a:lnTo>
                    <a:lnTo>
                      <a:pt x="71" y="28"/>
                    </a:lnTo>
                    <a:lnTo>
                      <a:pt x="70" y="21"/>
                    </a:lnTo>
                    <a:lnTo>
                      <a:pt x="66" y="16"/>
                    </a:lnTo>
                    <a:lnTo>
                      <a:pt x="62" y="10"/>
                    </a:lnTo>
                    <a:lnTo>
                      <a:pt x="56" y="5"/>
                    </a:lnTo>
                    <a:lnTo>
                      <a:pt x="51" y="2"/>
                    </a:lnTo>
                    <a:lnTo>
                      <a:pt x="44" y="0"/>
                    </a:lnTo>
                    <a:lnTo>
                      <a:pt x="36" y="0"/>
                    </a:lnTo>
                    <a:lnTo>
                      <a:pt x="36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C5C5C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87" name="Freeform 330">
                <a:extLst>
                  <a:ext uri="{FF2B5EF4-FFF2-40B4-BE49-F238E27FC236}">
                    <a16:creationId xmlns:a16="http://schemas.microsoft.com/office/drawing/2014/main" id="{8822C16A-92DA-4DBA-BB4D-F35799CC26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0951" y="5997575"/>
                <a:ext cx="247650" cy="176213"/>
              </a:xfrm>
              <a:custGeom>
                <a:avLst/>
                <a:gdLst>
                  <a:gd name="T0" fmla="*/ 307 w 311"/>
                  <a:gd name="T1" fmla="*/ 63 h 223"/>
                  <a:gd name="T2" fmla="*/ 307 w 311"/>
                  <a:gd name="T3" fmla="*/ 63 h 223"/>
                  <a:gd name="T4" fmla="*/ 303 w 311"/>
                  <a:gd name="T5" fmla="*/ 59 h 223"/>
                  <a:gd name="T6" fmla="*/ 297 w 311"/>
                  <a:gd name="T7" fmla="*/ 58 h 223"/>
                  <a:gd name="T8" fmla="*/ 111 w 311"/>
                  <a:gd name="T9" fmla="*/ 58 h 223"/>
                  <a:gd name="T10" fmla="*/ 111 w 311"/>
                  <a:gd name="T11" fmla="*/ 58 h 223"/>
                  <a:gd name="T12" fmla="*/ 106 w 311"/>
                  <a:gd name="T13" fmla="*/ 59 h 223"/>
                  <a:gd name="T14" fmla="*/ 100 w 311"/>
                  <a:gd name="T15" fmla="*/ 62 h 223"/>
                  <a:gd name="T16" fmla="*/ 98 w 311"/>
                  <a:gd name="T17" fmla="*/ 67 h 223"/>
                  <a:gd name="T18" fmla="*/ 96 w 311"/>
                  <a:gd name="T19" fmla="*/ 72 h 223"/>
                  <a:gd name="T20" fmla="*/ 96 w 311"/>
                  <a:gd name="T21" fmla="*/ 72 h 223"/>
                  <a:gd name="T22" fmla="*/ 98 w 311"/>
                  <a:gd name="T23" fmla="*/ 78 h 223"/>
                  <a:gd name="T24" fmla="*/ 100 w 311"/>
                  <a:gd name="T25" fmla="*/ 82 h 223"/>
                  <a:gd name="T26" fmla="*/ 106 w 311"/>
                  <a:gd name="T27" fmla="*/ 86 h 223"/>
                  <a:gd name="T28" fmla="*/ 111 w 311"/>
                  <a:gd name="T29" fmla="*/ 86 h 223"/>
                  <a:gd name="T30" fmla="*/ 279 w 311"/>
                  <a:gd name="T31" fmla="*/ 86 h 223"/>
                  <a:gd name="T32" fmla="*/ 256 w 311"/>
                  <a:gd name="T33" fmla="*/ 195 h 223"/>
                  <a:gd name="T34" fmla="*/ 103 w 311"/>
                  <a:gd name="T35" fmla="*/ 195 h 223"/>
                  <a:gd name="T36" fmla="*/ 67 w 311"/>
                  <a:gd name="T37" fmla="*/ 11 h 223"/>
                  <a:gd name="T38" fmla="*/ 67 w 311"/>
                  <a:gd name="T39" fmla="*/ 11 h 223"/>
                  <a:gd name="T40" fmla="*/ 64 w 311"/>
                  <a:gd name="T41" fmla="*/ 7 h 223"/>
                  <a:gd name="T42" fmla="*/ 62 w 311"/>
                  <a:gd name="T43" fmla="*/ 2 h 223"/>
                  <a:gd name="T44" fmla="*/ 58 w 311"/>
                  <a:gd name="T45" fmla="*/ 0 h 223"/>
                  <a:gd name="T46" fmla="*/ 52 w 311"/>
                  <a:gd name="T47" fmla="*/ 0 h 223"/>
                  <a:gd name="T48" fmla="*/ 13 w 311"/>
                  <a:gd name="T49" fmla="*/ 0 h 223"/>
                  <a:gd name="T50" fmla="*/ 13 w 311"/>
                  <a:gd name="T51" fmla="*/ 0 h 223"/>
                  <a:gd name="T52" fmla="*/ 8 w 311"/>
                  <a:gd name="T53" fmla="*/ 0 h 223"/>
                  <a:gd name="T54" fmla="*/ 4 w 311"/>
                  <a:gd name="T55" fmla="*/ 4 h 223"/>
                  <a:gd name="T56" fmla="*/ 0 w 311"/>
                  <a:gd name="T57" fmla="*/ 8 h 223"/>
                  <a:gd name="T58" fmla="*/ 0 w 311"/>
                  <a:gd name="T59" fmla="*/ 13 h 223"/>
                  <a:gd name="T60" fmla="*/ 0 w 311"/>
                  <a:gd name="T61" fmla="*/ 13 h 223"/>
                  <a:gd name="T62" fmla="*/ 0 w 311"/>
                  <a:gd name="T63" fmla="*/ 19 h 223"/>
                  <a:gd name="T64" fmla="*/ 4 w 311"/>
                  <a:gd name="T65" fmla="*/ 24 h 223"/>
                  <a:gd name="T66" fmla="*/ 8 w 311"/>
                  <a:gd name="T67" fmla="*/ 27 h 223"/>
                  <a:gd name="T68" fmla="*/ 13 w 311"/>
                  <a:gd name="T69" fmla="*/ 28 h 223"/>
                  <a:gd name="T70" fmla="*/ 41 w 311"/>
                  <a:gd name="T71" fmla="*/ 28 h 223"/>
                  <a:gd name="T72" fmla="*/ 78 w 311"/>
                  <a:gd name="T73" fmla="*/ 212 h 223"/>
                  <a:gd name="T74" fmla="*/ 78 w 311"/>
                  <a:gd name="T75" fmla="*/ 212 h 223"/>
                  <a:gd name="T76" fmla="*/ 79 w 311"/>
                  <a:gd name="T77" fmla="*/ 216 h 223"/>
                  <a:gd name="T78" fmla="*/ 83 w 311"/>
                  <a:gd name="T79" fmla="*/ 220 h 223"/>
                  <a:gd name="T80" fmla="*/ 87 w 311"/>
                  <a:gd name="T81" fmla="*/ 223 h 223"/>
                  <a:gd name="T82" fmla="*/ 91 w 311"/>
                  <a:gd name="T83" fmla="*/ 223 h 223"/>
                  <a:gd name="T84" fmla="*/ 267 w 311"/>
                  <a:gd name="T85" fmla="*/ 223 h 223"/>
                  <a:gd name="T86" fmla="*/ 267 w 311"/>
                  <a:gd name="T87" fmla="*/ 223 h 223"/>
                  <a:gd name="T88" fmla="*/ 272 w 311"/>
                  <a:gd name="T89" fmla="*/ 223 h 223"/>
                  <a:gd name="T90" fmla="*/ 276 w 311"/>
                  <a:gd name="T91" fmla="*/ 220 h 223"/>
                  <a:gd name="T92" fmla="*/ 279 w 311"/>
                  <a:gd name="T93" fmla="*/ 216 h 223"/>
                  <a:gd name="T94" fmla="*/ 282 w 311"/>
                  <a:gd name="T95" fmla="*/ 212 h 223"/>
                  <a:gd name="T96" fmla="*/ 310 w 311"/>
                  <a:gd name="T97" fmla="*/ 75 h 223"/>
                  <a:gd name="T98" fmla="*/ 310 w 311"/>
                  <a:gd name="T99" fmla="*/ 75 h 223"/>
                  <a:gd name="T100" fmla="*/ 311 w 311"/>
                  <a:gd name="T101" fmla="*/ 72 h 223"/>
                  <a:gd name="T102" fmla="*/ 310 w 311"/>
                  <a:gd name="T103" fmla="*/ 70 h 223"/>
                  <a:gd name="T104" fmla="*/ 310 w 311"/>
                  <a:gd name="T105" fmla="*/ 66 h 223"/>
                  <a:gd name="T106" fmla="*/ 307 w 311"/>
                  <a:gd name="T107" fmla="*/ 63 h 223"/>
                  <a:gd name="T108" fmla="*/ 307 w 311"/>
                  <a:gd name="T109" fmla="*/ 63 h 2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311" h="223">
                    <a:moveTo>
                      <a:pt x="307" y="63"/>
                    </a:moveTo>
                    <a:lnTo>
                      <a:pt x="307" y="63"/>
                    </a:lnTo>
                    <a:lnTo>
                      <a:pt x="303" y="59"/>
                    </a:lnTo>
                    <a:lnTo>
                      <a:pt x="297" y="58"/>
                    </a:lnTo>
                    <a:lnTo>
                      <a:pt x="111" y="58"/>
                    </a:lnTo>
                    <a:lnTo>
                      <a:pt x="111" y="58"/>
                    </a:lnTo>
                    <a:lnTo>
                      <a:pt x="106" y="59"/>
                    </a:lnTo>
                    <a:lnTo>
                      <a:pt x="100" y="62"/>
                    </a:lnTo>
                    <a:lnTo>
                      <a:pt x="98" y="67"/>
                    </a:lnTo>
                    <a:lnTo>
                      <a:pt x="96" y="72"/>
                    </a:lnTo>
                    <a:lnTo>
                      <a:pt x="96" y="72"/>
                    </a:lnTo>
                    <a:lnTo>
                      <a:pt x="98" y="78"/>
                    </a:lnTo>
                    <a:lnTo>
                      <a:pt x="100" y="82"/>
                    </a:lnTo>
                    <a:lnTo>
                      <a:pt x="106" y="86"/>
                    </a:lnTo>
                    <a:lnTo>
                      <a:pt x="111" y="86"/>
                    </a:lnTo>
                    <a:lnTo>
                      <a:pt x="279" y="86"/>
                    </a:lnTo>
                    <a:lnTo>
                      <a:pt x="256" y="195"/>
                    </a:lnTo>
                    <a:lnTo>
                      <a:pt x="103" y="195"/>
                    </a:lnTo>
                    <a:lnTo>
                      <a:pt x="67" y="11"/>
                    </a:lnTo>
                    <a:lnTo>
                      <a:pt x="67" y="11"/>
                    </a:lnTo>
                    <a:lnTo>
                      <a:pt x="64" y="7"/>
                    </a:lnTo>
                    <a:lnTo>
                      <a:pt x="62" y="2"/>
                    </a:lnTo>
                    <a:lnTo>
                      <a:pt x="58" y="0"/>
                    </a:lnTo>
                    <a:lnTo>
                      <a:pt x="52" y="0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0" y="8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9"/>
                    </a:lnTo>
                    <a:lnTo>
                      <a:pt x="4" y="24"/>
                    </a:lnTo>
                    <a:lnTo>
                      <a:pt x="8" y="27"/>
                    </a:lnTo>
                    <a:lnTo>
                      <a:pt x="13" y="28"/>
                    </a:lnTo>
                    <a:lnTo>
                      <a:pt x="41" y="28"/>
                    </a:lnTo>
                    <a:lnTo>
                      <a:pt x="78" y="212"/>
                    </a:lnTo>
                    <a:lnTo>
                      <a:pt x="78" y="212"/>
                    </a:lnTo>
                    <a:lnTo>
                      <a:pt x="79" y="216"/>
                    </a:lnTo>
                    <a:lnTo>
                      <a:pt x="83" y="220"/>
                    </a:lnTo>
                    <a:lnTo>
                      <a:pt x="87" y="223"/>
                    </a:lnTo>
                    <a:lnTo>
                      <a:pt x="91" y="223"/>
                    </a:lnTo>
                    <a:lnTo>
                      <a:pt x="267" y="223"/>
                    </a:lnTo>
                    <a:lnTo>
                      <a:pt x="267" y="223"/>
                    </a:lnTo>
                    <a:lnTo>
                      <a:pt x="272" y="223"/>
                    </a:lnTo>
                    <a:lnTo>
                      <a:pt x="276" y="220"/>
                    </a:lnTo>
                    <a:lnTo>
                      <a:pt x="279" y="216"/>
                    </a:lnTo>
                    <a:lnTo>
                      <a:pt x="282" y="212"/>
                    </a:lnTo>
                    <a:lnTo>
                      <a:pt x="310" y="75"/>
                    </a:lnTo>
                    <a:lnTo>
                      <a:pt x="310" y="75"/>
                    </a:lnTo>
                    <a:lnTo>
                      <a:pt x="311" y="72"/>
                    </a:lnTo>
                    <a:lnTo>
                      <a:pt x="310" y="70"/>
                    </a:lnTo>
                    <a:lnTo>
                      <a:pt x="310" y="66"/>
                    </a:lnTo>
                    <a:lnTo>
                      <a:pt x="307" y="63"/>
                    </a:lnTo>
                    <a:lnTo>
                      <a:pt x="307" y="6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C5C5C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</p:grpSp>
      </p:grpSp>
      <p:sp>
        <p:nvSpPr>
          <p:cNvPr id="18" name="object 65">
            <a:extLst>
              <a:ext uri="{FF2B5EF4-FFF2-40B4-BE49-F238E27FC236}">
                <a16:creationId xmlns:a16="http://schemas.microsoft.com/office/drawing/2014/main" id="{5330D4AD-DCBC-474A-9AF8-2DF87ACB9A34}"/>
              </a:ext>
            </a:extLst>
          </p:cNvPr>
          <p:cNvSpPr/>
          <p:nvPr/>
        </p:nvSpPr>
        <p:spPr>
          <a:xfrm rot="3531892" flipV="1">
            <a:off x="4459691" y="3352793"/>
            <a:ext cx="869192" cy="96676"/>
          </a:xfrm>
          <a:custGeom>
            <a:avLst/>
            <a:gdLst/>
            <a:ahLst/>
            <a:cxnLst/>
            <a:rect l="l" t="t" r="r" b="b"/>
            <a:pathLst>
              <a:path w="1685289" h="352425">
                <a:moveTo>
                  <a:pt x="1621144" y="306764"/>
                </a:moveTo>
                <a:lnTo>
                  <a:pt x="1602486" y="327913"/>
                </a:lnTo>
                <a:lnTo>
                  <a:pt x="1684782" y="349758"/>
                </a:lnTo>
                <a:lnTo>
                  <a:pt x="1670790" y="315087"/>
                </a:lnTo>
                <a:lnTo>
                  <a:pt x="1631188" y="315087"/>
                </a:lnTo>
                <a:lnTo>
                  <a:pt x="1621144" y="306764"/>
                </a:lnTo>
                <a:close/>
              </a:path>
              <a:path w="1685289" h="352425">
                <a:moveTo>
                  <a:pt x="1633736" y="292491"/>
                </a:moveTo>
                <a:lnTo>
                  <a:pt x="1621144" y="306764"/>
                </a:lnTo>
                <a:lnTo>
                  <a:pt x="1631188" y="315087"/>
                </a:lnTo>
                <a:lnTo>
                  <a:pt x="1643380" y="300482"/>
                </a:lnTo>
                <a:lnTo>
                  <a:pt x="1633736" y="292491"/>
                </a:lnTo>
                <a:close/>
              </a:path>
              <a:path w="1685289" h="352425">
                <a:moveTo>
                  <a:pt x="1652905" y="270763"/>
                </a:moveTo>
                <a:lnTo>
                  <a:pt x="1633736" y="292491"/>
                </a:lnTo>
                <a:lnTo>
                  <a:pt x="1643380" y="300482"/>
                </a:lnTo>
                <a:lnTo>
                  <a:pt x="1631188" y="315087"/>
                </a:lnTo>
                <a:lnTo>
                  <a:pt x="1670790" y="315087"/>
                </a:lnTo>
                <a:lnTo>
                  <a:pt x="1652905" y="270763"/>
                </a:lnTo>
                <a:close/>
              </a:path>
              <a:path w="1685289" h="352425">
                <a:moveTo>
                  <a:pt x="1583689" y="252222"/>
                </a:moveTo>
                <a:lnTo>
                  <a:pt x="1572387" y="267588"/>
                </a:lnTo>
                <a:lnTo>
                  <a:pt x="1585976" y="277622"/>
                </a:lnTo>
                <a:lnTo>
                  <a:pt x="1621144" y="306764"/>
                </a:lnTo>
                <a:lnTo>
                  <a:pt x="1633736" y="292491"/>
                </a:lnTo>
                <a:lnTo>
                  <a:pt x="1598168" y="263017"/>
                </a:lnTo>
                <a:lnTo>
                  <a:pt x="1583689" y="252222"/>
                </a:lnTo>
                <a:close/>
              </a:path>
              <a:path w="1685289" h="352425">
                <a:moveTo>
                  <a:pt x="1472311" y="177292"/>
                </a:moveTo>
                <a:lnTo>
                  <a:pt x="1462532" y="193675"/>
                </a:lnTo>
                <a:lnTo>
                  <a:pt x="1488567" y="209296"/>
                </a:lnTo>
                <a:lnTo>
                  <a:pt x="1526286" y="234442"/>
                </a:lnTo>
                <a:lnTo>
                  <a:pt x="1536954" y="218694"/>
                </a:lnTo>
                <a:lnTo>
                  <a:pt x="1499108" y="193421"/>
                </a:lnTo>
                <a:lnTo>
                  <a:pt x="1472311" y="177292"/>
                </a:lnTo>
                <a:close/>
              </a:path>
              <a:path w="1685289" h="352425">
                <a:moveTo>
                  <a:pt x="1353693" y="114553"/>
                </a:moveTo>
                <a:lnTo>
                  <a:pt x="1345564" y="131825"/>
                </a:lnTo>
                <a:lnTo>
                  <a:pt x="1386586" y="151384"/>
                </a:lnTo>
                <a:lnTo>
                  <a:pt x="1413256" y="165608"/>
                </a:lnTo>
                <a:lnTo>
                  <a:pt x="1422273" y="148844"/>
                </a:lnTo>
                <a:lnTo>
                  <a:pt x="1395602" y="134493"/>
                </a:lnTo>
                <a:lnTo>
                  <a:pt x="1353693" y="114553"/>
                </a:lnTo>
                <a:close/>
              </a:path>
              <a:path w="1685289" h="352425">
                <a:moveTo>
                  <a:pt x="1228725" y="64770"/>
                </a:moveTo>
                <a:lnTo>
                  <a:pt x="1223010" y="82931"/>
                </a:lnTo>
                <a:lnTo>
                  <a:pt x="1226820" y="84200"/>
                </a:lnTo>
                <a:lnTo>
                  <a:pt x="1280922" y="103886"/>
                </a:lnTo>
                <a:lnTo>
                  <a:pt x="1293495" y="109220"/>
                </a:lnTo>
                <a:lnTo>
                  <a:pt x="1300861" y="91694"/>
                </a:lnTo>
                <a:lnTo>
                  <a:pt x="1288288" y="86360"/>
                </a:lnTo>
                <a:lnTo>
                  <a:pt x="1233424" y="66294"/>
                </a:lnTo>
                <a:lnTo>
                  <a:pt x="1228725" y="64770"/>
                </a:lnTo>
                <a:close/>
              </a:path>
              <a:path w="1685289" h="352425">
                <a:moveTo>
                  <a:pt x="1099312" y="29210"/>
                </a:moveTo>
                <a:lnTo>
                  <a:pt x="1095375" y="47751"/>
                </a:lnTo>
                <a:lnTo>
                  <a:pt x="1116965" y="52450"/>
                </a:lnTo>
                <a:lnTo>
                  <a:pt x="1168781" y="66039"/>
                </a:lnTo>
                <a:lnTo>
                  <a:pt x="1173734" y="47625"/>
                </a:lnTo>
                <a:lnTo>
                  <a:pt x="1121918" y="34036"/>
                </a:lnTo>
                <a:lnTo>
                  <a:pt x="1099312" y="29210"/>
                </a:lnTo>
                <a:close/>
              </a:path>
              <a:path w="1685289" h="352425">
                <a:moveTo>
                  <a:pt x="966978" y="7365"/>
                </a:moveTo>
                <a:lnTo>
                  <a:pt x="964692" y="26288"/>
                </a:lnTo>
                <a:lnTo>
                  <a:pt x="1005459" y="31114"/>
                </a:lnTo>
                <a:lnTo>
                  <a:pt x="1039749" y="36957"/>
                </a:lnTo>
                <a:lnTo>
                  <a:pt x="1042797" y="18161"/>
                </a:lnTo>
                <a:lnTo>
                  <a:pt x="1008634" y="12446"/>
                </a:lnTo>
                <a:lnTo>
                  <a:pt x="966978" y="7365"/>
                </a:lnTo>
                <a:close/>
              </a:path>
              <a:path w="1685289" h="352425">
                <a:moveTo>
                  <a:pt x="837057" y="0"/>
                </a:moveTo>
                <a:lnTo>
                  <a:pt x="832612" y="0"/>
                </a:lnTo>
                <a:lnTo>
                  <a:pt x="832993" y="19050"/>
                </a:lnTo>
                <a:lnTo>
                  <a:pt x="836549" y="19050"/>
                </a:lnTo>
                <a:lnTo>
                  <a:pt x="892937" y="20447"/>
                </a:lnTo>
                <a:lnTo>
                  <a:pt x="908177" y="21462"/>
                </a:lnTo>
                <a:lnTo>
                  <a:pt x="909574" y="2539"/>
                </a:lnTo>
                <a:lnTo>
                  <a:pt x="894334" y="1397"/>
                </a:lnTo>
                <a:lnTo>
                  <a:pt x="837057" y="0"/>
                </a:lnTo>
                <a:close/>
              </a:path>
              <a:path w="1685289" h="352425">
                <a:moveTo>
                  <a:pt x="774954" y="1397"/>
                </a:moveTo>
                <a:lnTo>
                  <a:pt x="722884" y="4952"/>
                </a:lnTo>
                <a:lnTo>
                  <a:pt x="698627" y="7747"/>
                </a:lnTo>
                <a:lnTo>
                  <a:pt x="700786" y="26670"/>
                </a:lnTo>
                <a:lnTo>
                  <a:pt x="724281" y="24002"/>
                </a:lnTo>
                <a:lnTo>
                  <a:pt x="776224" y="20447"/>
                </a:lnTo>
                <a:lnTo>
                  <a:pt x="774954" y="1397"/>
                </a:lnTo>
                <a:close/>
              </a:path>
              <a:path w="1685289" h="352425">
                <a:moveTo>
                  <a:pt x="641604" y="15494"/>
                </a:moveTo>
                <a:lnTo>
                  <a:pt x="609854" y="20574"/>
                </a:lnTo>
                <a:lnTo>
                  <a:pt x="566293" y="29845"/>
                </a:lnTo>
                <a:lnTo>
                  <a:pt x="570230" y="48513"/>
                </a:lnTo>
                <a:lnTo>
                  <a:pt x="612902" y="39370"/>
                </a:lnTo>
                <a:lnTo>
                  <a:pt x="644652" y="34289"/>
                </a:lnTo>
                <a:lnTo>
                  <a:pt x="641604" y="15494"/>
                </a:lnTo>
                <a:close/>
              </a:path>
              <a:path w="1685289" h="352425">
                <a:moveTo>
                  <a:pt x="510413" y="43814"/>
                </a:moveTo>
                <a:lnTo>
                  <a:pt x="498602" y="46989"/>
                </a:lnTo>
                <a:lnTo>
                  <a:pt x="443992" y="64135"/>
                </a:lnTo>
                <a:lnTo>
                  <a:pt x="436753" y="66801"/>
                </a:lnTo>
                <a:lnTo>
                  <a:pt x="443357" y="84709"/>
                </a:lnTo>
                <a:lnTo>
                  <a:pt x="449707" y="82296"/>
                </a:lnTo>
                <a:lnTo>
                  <a:pt x="503555" y="65405"/>
                </a:lnTo>
                <a:lnTo>
                  <a:pt x="515239" y="62357"/>
                </a:lnTo>
                <a:lnTo>
                  <a:pt x="510413" y="43814"/>
                </a:lnTo>
                <a:close/>
              </a:path>
              <a:path w="1685289" h="352425">
                <a:moveTo>
                  <a:pt x="382905" y="86995"/>
                </a:moveTo>
                <a:lnTo>
                  <a:pt x="337185" y="106425"/>
                </a:lnTo>
                <a:lnTo>
                  <a:pt x="312928" y="118237"/>
                </a:lnTo>
                <a:lnTo>
                  <a:pt x="321183" y="135382"/>
                </a:lnTo>
                <a:lnTo>
                  <a:pt x="344678" y="123951"/>
                </a:lnTo>
                <a:lnTo>
                  <a:pt x="390398" y="104521"/>
                </a:lnTo>
                <a:lnTo>
                  <a:pt x="382905" y="86995"/>
                </a:lnTo>
                <a:close/>
              </a:path>
              <a:path w="1685289" h="352425">
                <a:moveTo>
                  <a:pt x="261620" y="144525"/>
                </a:moveTo>
                <a:lnTo>
                  <a:pt x="234442" y="159385"/>
                </a:lnTo>
                <a:lnTo>
                  <a:pt x="195580" y="183387"/>
                </a:lnTo>
                <a:lnTo>
                  <a:pt x="205486" y="199517"/>
                </a:lnTo>
                <a:lnTo>
                  <a:pt x="243586" y="176149"/>
                </a:lnTo>
                <a:lnTo>
                  <a:pt x="270764" y="161289"/>
                </a:lnTo>
                <a:lnTo>
                  <a:pt x="261620" y="144525"/>
                </a:lnTo>
                <a:close/>
              </a:path>
              <a:path w="1685289" h="352425">
                <a:moveTo>
                  <a:pt x="147574" y="215392"/>
                </a:moveTo>
                <a:lnTo>
                  <a:pt x="136398" y="223138"/>
                </a:lnTo>
                <a:lnTo>
                  <a:pt x="89408" y="258952"/>
                </a:lnTo>
                <a:lnTo>
                  <a:pt x="85979" y="261747"/>
                </a:lnTo>
                <a:lnTo>
                  <a:pt x="98298" y="276225"/>
                </a:lnTo>
                <a:lnTo>
                  <a:pt x="100837" y="274065"/>
                </a:lnTo>
                <a:lnTo>
                  <a:pt x="147193" y="238760"/>
                </a:lnTo>
                <a:lnTo>
                  <a:pt x="158369" y="231139"/>
                </a:lnTo>
                <a:lnTo>
                  <a:pt x="147574" y="215392"/>
                </a:lnTo>
                <a:close/>
              </a:path>
              <a:path w="1685289" h="352425">
                <a:moveTo>
                  <a:pt x="42037" y="299085"/>
                </a:moveTo>
                <a:lnTo>
                  <a:pt x="0" y="338582"/>
                </a:lnTo>
                <a:lnTo>
                  <a:pt x="13081" y="352425"/>
                </a:lnTo>
                <a:lnTo>
                  <a:pt x="55118" y="313055"/>
                </a:lnTo>
                <a:lnTo>
                  <a:pt x="42037" y="299085"/>
                </a:lnTo>
                <a:close/>
              </a:path>
            </a:pathLst>
          </a:custGeom>
          <a:solidFill>
            <a:srgbClr val="A6A6A6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19" name="object 21">
            <a:extLst>
              <a:ext uri="{FF2B5EF4-FFF2-40B4-BE49-F238E27FC236}">
                <a16:creationId xmlns:a16="http://schemas.microsoft.com/office/drawing/2014/main" id="{0CCD1469-E680-414E-B7C4-30341926281B}"/>
              </a:ext>
            </a:extLst>
          </p:cNvPr>
          <p:cNvSpPr txBox="1"/>
          <p:nvPr/>
        </p:nvSpPr>
        <p:spPr>
          <a:xfrm>
            <a:off x="5075847" y="4469120"/>
            <a:ext cx="1220312" cy="11863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lvl="0" indent="635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-1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Behandler</a:t>
            </a:r>
            <a:r>
              <a:rPr kumimoji="0" lang="en-US" sz="900" b="0" i="0" u="none" strike="noStrike" kern="1200" cap="none" spc="-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 </a:t>
            </a:r>
            <a:r>
              <a:rPr kumimoji="0" lang="en-US" sz="900" b="0" i="0" u="none" strike="noStrike" kern="1200" cap="none" spc="-1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innkjøpsordre</a:t>
            </a:r>
            <a:endParaRPr kumimoji="0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Verdana"/>
            </a:endParaRPr>
          </a:p>
        </p:txBody>
      </p:sp>
      <p:sp>
        <p:nvSpPr>
          <p:cNvPr id="20" name="object 56">
            <a:extLst>
              <a:ext uri="{FF2B5EF4-FFF2-40B4-BE49-F238E27FC236}">
                <a16:creationId xmlns:a16="http://schemas.microsoft.com/office/drawing/2014/main" id="{A8BF1728-D979-4022-9953-3DCECA5890E2}"/>
              </a:ext>
            </a:extLst>
          </p:cNvPr>
          <p:cNvSpPr txBox="1"/>
          <p:nvPr/>
        </p:nvSpPr>
        <p:spPr>
          <a:xfrm>
            <a:off x="5902459" y="3097870"/>
            <a:ext cx="1521354" cy="12906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-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Vare/tjeneste leveres</a:t>
            </a:r>
            <a:endParaRPr kumimoji="0" lang="en-US" sz="900" b="0" i="0" u="none" strike="noStrike" kern="1200" cap="none" spc="-5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Verdana"/>
            </a:endParaRPr>
          </a:p>
        </p:txBody>
      </p:sp>
      <p:sp>
        <p:nvSpPr>
          <p:cNvPr id="21" name="object 75">
            <a:extLst>
              <a:ext uri="{FF2B5EF4-FFF2-40B4-BE49-F238E27FC236}">
                <a16:creationId xmlns:a16="http://schemas.microsoft.com/office/drawing/2014/main" id="{7FA1C302-102A-47F5-A390-1C7BCA78D7A6}"/>
              </a:ext>
            </a:extLst>
          </p:cNvPr>
          <p:cNvSpPr/>
          <p:nvPr/>
        </p:nvSpPr>
        <p:spPr>
          <a:xfrm>
            <a:off x="6127176" y="2344028"/>
            <a:ext cx="524065" cy="328112"/>
          </a:xfrm>
          <a:prstGeom prst="rect">
            <a:avLst/>
          </a:prstGeom>
          <a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557571D0-E209-4FB6-9821-F5965D88C7C9}"/>
              </a:ext>
            </a:extLst>
          </p:cNvPr>
          <p:cNvGrpSpPr/>
          <p:nvPr/>
        </p:nvGrpSpPr>
        <p:grpSpPr>
          <a:xfrm>
            <a:off x="289779" y="1863840"/>
            <a:ext cx="1020570" cy="1115593"/>
            <a:chOff x="3467100" y="1822705"/>
            <a:chExt cx="1417446" cy="1481454"/>
          </a:xfrm>
        </p:grpSpPr>
        <p:sp>
          <p:nvSpPr>
            <p:cNvPr id="77" name="object 17">
              <a:extLst>
                <a:ext uri="{FF2B5EF4-FFF2-40B4-BE49-F238E27FC236}">
                  <a16:creationId xmlns:a16="http://schemas.microsoft.com/office/drawing/2014/main" id="{B1DC2C77-3C68-4583-8E00-120A29684A5A}"/>
                </a:ext>
              </a:extLst>
            </p:cNvPr>
            <p:cNvSpPr/>
            <p:nvPr/>
          </p:nvSpPr>
          <p:spPr>
            <a:xfrm>
              <a:off x="3550284" y="1898904"/>
              <a:ext cx="1259840" cy="1405255"/>
            </a:xfrm>
            <a:custGeom>
              <a:avLst/>
              <a:gdLst/>
              <a:ahLst/>
              <a:cxnLst/>
              <a:rect l="l" t="t" r="r" b="b"/>
              <a:pathLst>
                <a:path w="1259839" h="1405254">
                  <a:moveTo>
                    <a:pt x="556132" y="0"/>
                  </a:moveTo>
                  <a:lnTo>
                    <a:pt x="604293" y="1620"/>
                  </a:lnTo>
                  <a:lnTo>
                    <a:pt x="651582" y="6414"/>
                  </a:lnTo>
                  <a:lnTo>
                    <a:pt x="697894" y="14274"/>
                  </a:lnTo>
                  <a:lnTo>
                    <a:pt x="743124" y="25098"/>
                  </a:lnTo>
                  <a:lnTo>
                    <a:pt x="787169" y="38780"/>
                  </a:lnTo>
                  <a:lnTo>
                    <a:pt x="829923" y="55215"/>
                  </a:lnTo>
                  <a:lnTo>
                    <a:pt x="871281" y="74299"/>
                  </a:lnTo>
                  <a:lnTo>
                    <a:pt x="911140" y="95927"/>
                  </a:lnTo>
                  <a:lnTo>
                    <a:pt x="949394" y="119994"/>
                  </a:lnTo>
                  <a:lnTo>
                    <a:pt x="985938" y="146397"/>
                  </a:lnTo>
                  <a:lnTo>
                    <a:pt x="1020669" y="175029"/>
                  </a:lnTo>
                  <a:lnTo>
                    <a:pt x="1053480" y="205787"/>
                  </a:lnTo>
                  <a:lnTo>
                    <a:pt x="1084269" y="238566"/>
                  </a:lnTo>
                  <a:lnTo>
                    <a:pt x="1112929" y="273261"/>
                  </a:lnTo>
                  <a:lnTo>
                    <a:pt x="1139356" y="309767"/>
                  </a:lnTo>
                  <a:lnTo>
                    <a:pt x="1163447" y="347980"/>
                  </a:lnTo>
                  <a:lnTo>
                    <a:pt x="1185094" y="387794"/>
                  </a:lnTo>
                  <a:lnTo>
                    <a:pt x="1204196" y="429107"/>
                  </a:lnTo>
                  <a:lnTo>
                    <a:pt x="1220645" y="471812"/>
                  </a:lnTo>
                  <a:lnTo>
                    <a:pt x="1234339" y="515805"/>
                  </a:lnTo>
                  <a:lnTo>
                    <a:pt x="1245172" y="560981"/>
                  </a:lnTo>
                  <a:lnTo>
                    <a:pt x="1253039" y="607236"/>
                  </a:lnTo>
                  <a:lnTo>
                    <a:pt x="1257836" y="654465"/>
                  </a:lnTo>
                  <a:lnTo>
                    <a:pt x="1259459" y="702563"/>
                  </a:lnTo>
                  <a:lnTo>
                    <a:pt x="1257836" y="750662"/>
                  </a:lnTo>
                  <a:lnTo>
                    <a:pt x="1253039" y="797891"/>
                  </a:lnTo>
                  <a:lnTo>
                    <a:pt x="1245172" y="844146"/>
                  </a:lnTo>
                  <a:lnTo>
                    <a:pt x="1234339" y="889322"/>
                  </a:lnTo>
                  <a:lnTo>
                    <a:pt x="1220645" y="933315"/>
                  </a:lnTo>
                  <a:lnTo>
                    <a:pt x="1204196" y="976020"/>
                  </a:lnTo>
                  <a:lnTo>
                    <a:pt x="1185094" y="1017333"/>
                  </a:lnTo>
                  <a:lnTo>
                    <a:pt x="1163447" y="1057147"/>
                  </a:lnTo>
                  <a:lnTo>
                    <a:pt x="1139356" y="1095360"/>
                  </a:lnTo>
                  <a:lnTo>
                    <a:pt x="1112929" y="1131866"/>
                  </a:lnTo>
                  <a:lnTo>
                    <a:pt x="1084269" y="1166561"/>
                  </a:lnTo>
                  <a:lnTo>
                    <a:pt x="1053480" y="1199340"/>
                  </a:lnTo>
                  <a:lnTo>
                    <a:pt x="1020669" y="1230098"/>
                  </a:lnTo>
                  <a:lnTo>
                    <a:pt x="985938" y="1258730"/>
                  </a:lnTo>
                  <a:lnTo>
                    <a:pt x="949394" y="1285133"/>
                  </a:lnTo>
                  <a:lnTo>
                    <a:pt x="911140" y="1309200"/>
                  </a:lnTo>
                  <a:lnTo>
                    <a:pt x="871281" y="1330828"/>
                  </a:lnTo>
                  <a:lnTo>
                    <a:pt x="829923" y="1349912"/>
                  </a:lnTo>
                  <a:lnTo>
                    <a:pt x="787169" y="1366347"/>
                  </a:lnTo>
                  <a:lnTo>
                    <a:pt x="743124" y="1380029"/>
                  </a:lnTo>
                  <a:lnTo>
                    <a:pt x="697894" y="1390853"/>
                  </a:lnTo>
                  <a:lnTo>
                    <a:pt x="651582" y="1398713"/>
                  </a:lnTo>
                  <a:lnTo>
                    <a:pt x="604293" y="1403507"/>
                  </a:lnTo>
                  <a:lnTo>
                    <a:pt x="556132" y="1405128"/>
                  </a:lnTo>
                  <a:lnTo>
                    <a:pt x="506172" y="1403355"/>
                  </a:lnTo>
                  <a:lnTo>
                    <a:pt x="456808" y="1398092"/>
                  </a:lnTo>
                  <a:lnTo>
                    <a:pt x="408205" y="1389418"/>
                  </a:lnTo>
                  <a:lnTo>
                    <a:pt x="360525" y="1377414"/>
                  </a:lnTo>
                  <a:lnTo>
                    <a:pt x="313933" y="1362159"/>
                  </a:lnTo>
                  <a:lnTo>
                    <a:pt x="268593" y="1343733"/>
                  </a:lnTo>
                  <a:lnTo>
                    <a:pt x="224667" y="1322217"/>
                  </a:lnTo>
                  <a:lnTo>
                    <a:pt x="182321" y="1297691"/>
                  </a:lnTo>
                  <a:lnTo>
                    <a:pt x="141717" y="1270235"/>
                  </a:lnTo>
                  <a:lnTo>
                    <a:pt x="103019" y="1239929"/>
                  </a:lnTo>
                  <a:lnTo>
                    <a:pt x="66391" y="1206853"/>
                  </a:lnTo>
                  <a:lnTo>
                    <a:pt x="31997" y="1171088"/>
                  </a:lnTo>
                  <a:lnTo>
                    <a:pt x="0" y="1132713"/>
                  </a:lnTo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78" name="object 18">
              <a:extLst>
                <a:ext uri="{FF2B5EF4-FFF2-40B4-BE49-F238E27FC236}">
                  <a16:creationId xmlns:a16="http://schemas.microsoft.com/office/drawing/2014/main" id="{60F58578-3E3B-45FB-817B-B5930C4253E7}"/>
                </a:ext>
              </a:extLst>
            </p:cNvPr>
            <p:cNvSpPr/>
            <p:nvPr/>
          </p:nvSpPr>
          <p:spPr>
            <a:xfrm>
              <a:off x="3467100" y="1962911"/>
              <a:ext cx="1278890" cy="1277620"/>
            </a:xfrm>
            <a:custGeom>
              <a:avLst/>
              <a:gdLst/>
              <a:ahLst/>
              <a:cxnLst/>
              <a:rect l="l" t="t" r="r" b="b"/>
              <a:pathLst>
                <a:path w="1278889" h="1277620">
                  <a:moveTo>
                    <a:pt x="639317" y="0"/>
                  </a:moveTo>
                  <a:lnTo>
                    <a:pt x="687027" y="1751"/>
                  </a:lnTo>
                  <a:lnTo>
                    <a:pt x="733785" y="6923"/>
                  </a:lnTo>
                  <a:lnTo>
                    <a:pt x="779468" y="15392"/>
                  </a:lnTo>
                  <a:lnTo>
                    <a:pt x="823952" y="27034"/>
                  </a:lnTo>
                  <a:lnTo>
                    <a:pt x="867112" y="41727"/>
                  </a:lnTo>
                  <a:lnTo>
                    <a:pt x="908827" y="59346"/>
                  </a:lnTo>
                  <a:lnTo>
                    <a:pt x="948971" y="79769"/>
                  </a:lnTo>
                  <a:lnTo>
                    <a:pt x="987422" y="102871"/>
                  </a:lnTo>
                  <a:lnTo>
                    <a:pt x="1024055" y="128530"/>
                  </a:lnTo>
                  <a:lnTo>
                    <a:pt x="1058747" y="156622"/>
                  </a:lnTo>
                  <a:lnTo>
                    <a:pt x="1091374" y="187023"/>
                  </a:lnTo>
                  <a:lnTo>
                    <a:pt x="1121813" y="219610"/>
                  </a:lnTo>
                  <a:lnTo>
                    <a:pt x="1149940" y="254260"/>
                  </a:lnTo>
                  <a:lnTo>
                    <a:pt x="1175631" y="290849"/>
                  </a:lnTo>
                  <a:lnTo>
                    <a:pt x="1198763" y="329253"/>
                  </a:lnTo>
                  <a:lnTo>
                    <a:pt x="1219212" y="369350"/>
                  </a:lnTo>
                  <a:lnTo>
                    <a:pt x="1236854" y="411016"/>
                  </a:lnTo>
                  <a:lnTo>
                    <a:pt x="1251565" y="454127"/>
                  </a:lnTo>
                  <a:lnTo>
                    <a:pt x="1263223" y="498560"/>
                  </a:lnTo>
                  <a:lnTo>
                    <a:pt x="1271703" y="544191"/>
                  </a:lnTo>
                  <a:lnTo>
                    <a:pt x="1276882" y="590898"/>
                  </a:lnTo>
                  <a:lnTo>
                    <a:pt x="1278636" y="638555"/>
                  </a:lnTo>
                  <a:lnTo>
                    <a:pt x="1276882" y="686213"/>
                  </a:lnTo>
                  <a:lnTo>
                    <a:pt x="1271703" y="732920"/>
                  </a:lnTo>
                  <a:lnTo>
                    <a:pt x="1263223" y="778551"/>
                  </a:lnTo>
                  <a:lnTo>
                    <a:pt x="1251565" y="822984"/>
                  </a:lnTo>
                  <a:lnTo>
                    <a:pt x="1236854" y="866095"/>
                  </a:lnTo>
                  <a:lnTo>
                    <a:pt x="1219212" y="907761"/>
                  </a:lnTo>
                  <a:lnTo>
                    <a:pt x="1198763" y="947858"/>
                  </a:lnTo>
                  <a:lnTo>
                    <a:pt x="1175631" y="986262"/>
                  </a:lnTo>
                  <a:lnTo>
                    <a:pt x="1149940" y="1022851"/>
                  </a:lnTo>
                  <a:lnTo>
                    <a:pt x="1121813" y="1057501"/>
                  </a:lnTo>
                  <a:lnTo>
                    <a:pt x="1091374" y="1090088"/>
                  </a:lnTo>
                  <a:lnTo>
                    <a:pt x="1058747" y="1120489"/>
                  </a:lnTo>
                  <a:lnTo>
                    <a:pt x="1024055" y="1148581"/>
                  </a:lnTo>
                  <a:lnTo>
                    <a:pt x="987422" y="1174240"/>
                  </a:lnTo>
                  <a:lnTo>
                    <a:pt x="948971" y="1197342"/>
                  </a:lnTo>
                  <a:lnTo>
                    <a:pt x="908827" y="1217765"/>
                  </a:lnTo>
                  <a:lnTo>
                    <a:pt x="867112" y="1235384"/>
                  </a:lnTo>
                  <a:lnTo>
                    <a:pt x="823952" y="1250077"/>
                  </a:lnTo>
                  <a:lnTo>
                    <a:pt x="779468" y="1261719"/>
                  </a:lnTo>
                  <a:lnTo>
                    <a:pt x="733785" y="1270188"/>
                  </a:lnTo>
                  <a:lnTo>
                    <a:pt x="687027" y="1275360"/>
                  </a:lnTo>
                  <a:lnTo>
                    <a:pt x="639317" y="1277112"/>
                  </a:lnTo>
                  <a:lnTo>
                    <a:pt x="591608" y="1275360"/>
                  </a:lnTo>
                  <a:lnTo>
                    <a:pt x="544850" y="1270188"/>
                  </a:lnTo>
                  <a:lnTo>
                    <a:pt x="499167" y="1261719"/>
                  </a:lnTo>
                  <a:lnTo>
                    <a:pt x="454683" y="1250077"/>
                  </a:lnTo>
                  <a:lnTo>
                    <a:pt x="411523" y="1235384"/>
                  </a:lnTo>
                  <a:lnTo>
                    <a:pt x="369808" y="1217765"/>
                  </a:lnTo>
                  <a:lnTo>
                    <a:pt x="329664" y="1197342"/>
                  </a:lnTo>
                  <a:lnTo>
                    <a:pt x="291213" y="1174240"/>
                  </a:lnTo>
                  <a:lnTo>
                    <a:pt x="254580" y="1148581"/>
                  </a:lnTo>
                  <a:lnTo>
                    <a:pt x="219888" y="1120489"/>
                  </a:lnTo>
                  <a:lnTo>
                    <a:pt x="187261" y="1090088"/>
                  </a:lnTo>
                  <a:lnTo>
                    <a:pt x="156822" y="1057501"/>
                  </a:lnTo>
                  <a:lnTo>
                    <a:pt x="128695" y="1022851"/>
                  </a:lnTo>
                  <a:lnTo>
                    <a:pt x="103004" y="986262"/>
                  </a:lnTo>
                  <a:lnTo>
                    <a:pt x="79872" y="947858"/>
                  </a:lnTo>
                  <a:lnTo>
                    <a:pt x="59423" y="907761"/>
                  </a:lnTo>
                  <a:lnTo>
                    <a:pt x="41781" y="866095"/>
                  </a:lnTo>
                  <a:lnTo>
                    <a:pt x="27070" y="822984"/>
                  </a:lnTo>
                  <a:lnTo>
                    <a:pt x="15412" y="778551"/>
                  </a:lnTo>
                  <a:lnTo>
                    <a:pt x="6932" y="732920"/>
                  </a:lnTo>
                  <a:lnTo>
                    <a:pt x="1753" y="686213"/>
                  </a:lnTo>
                  <a:lnTo>
                    <a:pt x="0" y="638555"/>
                  </a:lnTo>
                  <a:lnTo>
                    <a:pt x="2217" y="585401"/>
                  </a:lnTo>
                  <a:lnTo>
                    <a:pt x="8812" y="532886"/>
                  </a:lnTo>
                  <a:lnTo>
                    <a:pt x="19696" y="481266"/>
                  </a:lnTo>
                  <a:lnTo>
                    <a:pt x="34782" y="430799"/>
                  </a:lnTo>
                  <a:lnTo>
                    <a:pt x="53981" y="381744"/>
                  </a:lnTo>
                  <a:lnTo>
                    <a:pt x="77206" y="334357"/>
                  </a:lnTo>
                  <a:lnTo>
                    <a:pt x="104368" y="288895"/>
                  </a:lnTo>
                  <a:lnTo>
                    <a:pt x="135382" y="245617"/>
                  </a:lnTo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79" name="object 19">
              <a:extLst>
                <a:ext uri="{FF2B5EF4-FFF2-40B4-BE49-F238E27FC236}">
                  <a16:creationId xmlns:a16="http://schemas.microsoft.com/office/drawing/2014/main" id="{63B88205-4384-47CF-BA32-AA3BDCD7E5E4}"/>
                </a:ext>
              </a:extLst>
            </p:cNvPr>
            <p:cNvSpPr/>
            <p:nvPr/>
          </p:nvSpPr>
          <p:spPr>
            <a:xfrm>
              <a:off x="4111750" y="1822705"/>
              <a:ext cx="772796" cy="1082675"/>
            </a:xfrm>
            <a:custGeom>
              <a:avLst/>
              <a:gdLst/>
              <a:ahLst/>
              <a:cxnLst/>
              <a:rect l="l" t="t" r="r" b="b"/>
              <a:pathLst>
                <a:path w="772795" h="1082675">
                  <a:moveTo>
                    <a:pt x="0" y="0"/>
                  </a:moveTo>
                  <a:lnTo>
                    <a:pt x="48863" y="1521"/>
                  </a:lnTo>
                  <a:lnTo>
                    <a:pt x="96919" y="6026"/>
                  </a:lnTo>
                  <a:lnTo>
                    <a:pt x="144077" y="13424"/>
                  </a:lnTo>
                  <a:lnTo>
                    <a:pt x="190246" y="23624"/>
                  </a:lnTo>
                  <a:lnTo>
                    <a:pt x="235337" y="36535"/>
                  </a:lnTo>
                  <a:lnTo>
                    <a:pt x="279258" y="52067"/>
                  </a:lnTo>
                  <a:lnTo>
                    <a:pt x="321919" y="70128"/>
                  </a:lnTo>
                  <a:lnTo>
                    <a:pt x="363229" y="90629"/>
                  </a:lnTo>
                  <a:lnTo>
                    <a:pt x="403098" y="113479"/>
                  </a:lnTo>
                  <a:lnTo>
                    <a:pt x="441436" y="138587"/>
                  </a:lnTo>
                  <a:lnTo>
                    <a:pt x="478151" y="165862"/>
                  </a:lnTo>
                  <a:lnTo>
                    <a:pt x="513154" y="195214"/>
                  </a:lnTo>
                  <a:lnTo>
                    <a:pt x="546354" y="226552"/>
                  </a:lnTo>
                  <a:lnTo>
                    <a:pt x="577659" y="259785"/>
                  </a:lnTo>
                  <a:lnTo>
                    <a:pt x="606981" y="294823"/>
                  </a:lnTo>
                  <a:lnTo>
                    <a:pt x="634228" y="331575"/>
                  </a:lnTo>
                  <a:lnTo>
                    <a:pt x="659309" y="369951"/>
                  </a:lnTo>
                  <a:lnTo>
                    <a:pt x="682135" y="409859"/>
                  </a:lnTo>
                  <a:lnTo>
                    <a:pt x="702614" y="451210"/>
                  </a:lnTo>
                  <a:lnTo>
                    <a:pt x="720657" y="493912"/>
                  </a:lnTo>
                  <a:lnTo>
                    <a:pt x="736172" y="537875"/>
                  </a:lnTo>
                  <a:lnTo>
                    <a:pt x="749069" y="583008"/>
                  </a:lnTo>
                  <a:lnTo>
                    <a:pt x="759257" y="629221"/>
                  </a:lnTo>
                  <a:lnTo>
                    <a:pt x="766647" y="676422"/>
                  </a:lnTo>
                  <a:lnTo>
                    <a:pt x="771147" y="724522"/>
                  </a:lnTo>
                  <a:lnTo>
                    <a:pt x="772668" y="773430"/>
                  </a:lnTo>
                  <a:lnTo>
                    <a:pt x="770853" y="826453"/>
                  </a:lnTo>
                  <a:lnTo>
                    <a:pt x="765433" y="879103"/>
                  </a:lnTo>
                  <a:lnTo>
                    <a:pt x="756443" y="931195"/>
                  </a:lnTo>
                  <a:lnTo>
                    <a:pt x="743918" y="982547"/>
                  </a:lnTo>
                  <a:lnTo>
                    <a:pt x="727894" y="1032974"/>
                  </a:lnTo>
                  <a:lnTo>
                    <a:pt x="708406" y="1082294"/>
                  </a:lnTo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80" name="object 40">
              <a:extLst>
                <a:ext uri="{FF2B5EF4-FFF2-40B4-BE49-F238E27FC236}">
                  <a16:creationId xmlns:a16="http://schemas.microsoft.com/office/drawing/2014/main" id="{E73A811D-D9FF-4D8F-AA5C-2CCFB426D687}"/>
                </a:ext>
              </a:extLst>
            </p:cNvPr>
            <p:cNvSpPr/>
            <p:nvPr/>
          </p:nvSpPr>
          <p:spPr>
            <a:xfrm>
              <a:off x="3547109" y="2032254"/>
              <a:ext cx="1130935" cy="1130935"/>
            </a:xfrm>
            <a:custGeom>
              <a:avLst/>
              <a:gdLst/>
              <a:ahLst/>
              <a:cxnLst/>
              <a:rect l="l" t="t" r="r" b="b"/>
              <a:pathLst>
                <a:path w="1130935" h="1130935">
                  <a:moveTo>
                    <a:pt x="565403" y="0"/>
                  </a:moveTo>
                  <a:lnTo>
                    <a:pt x="516614" y="2075"/>
                  </a:lnTo>
                  <a:lnTo>
                    <a:pt x="468978" y="8187"/>
                  </a:lnTo>
                  <a:lnTo>
                    <a:pt x="422665" y="18167"/>
                  </a:lnTo>
                  <a:lnTo>
                    <a:pt x="377844" y="31845"/>
                  </a:lnTo>
                  <a:lnTo>
                    <a:pt x="334686" y="49051"/>
                  </a:lnTo>
                  <a:lnTo>
                    <a:pt x="293360" y="69615"/>
                  </a:lnTo>
                  <a:lnTo>
                    <a:pt x="254034" y="93369"/>
                  </a:lnTo>
                  <a:lnTo>
                    <a:pt x="216881" y="120142"/>
                  </a:lnTo>
                  <a:lnTo>
                    <a:pt x="182067" y="149765"/>
                  </a:lnTo>
                  <a:lnTo>
                    <a:pt x="149765" y="182067"/>
                  </a:lnTo>
                  <a:lnTo>
                    <a:pt x="120142" y="216881"/>
                  </a:lnTo>
                  <a:lnTo>
                    <a:pt x="93369" y="254034"/>
                  </a:lnTo>
                  <a:lnTo>
                    <a:pt x="69615" y="293360"/>
                  </a:lnTo>
                  <a:lnTo>
                    <a:pt x="49051" y="334686"/>
                  </a:lnTo>
                  <a:lnTo>
                    <a:pt x="31845" y="377844"/>
                  </a:lnTo>
                  <a:lnTo>
                    <a:pt x="18167" y="422665"/>
                  </a:lnTo>
                  <a:lnTo>
                    <a:pt x="8187" y="468978"/>
                  </a:lnTo>
                  <a:lnTo>
                    <a:pt x="2075" y="516614"/>
                  </a:lnTo>
                  <a:lnTo>
                    <a:pt x="0" y="565404"/>
                  </a:lnTo>
                  <a:lnTo>
                    <a:pt x="2075" y="614193"/>
                  </a:lnTo>
                  <a:lnTo>
                    <a:pt x="8187" y="661829"/>
                  </a:lnTo>
                  <a:lnTo>
                    <a:pt x="18167" y="708142"/>
                  </a:lnTo>
                  <a:lnTo>
                    <a:pt x="31845" y="752963"/>
                  </a:lnTo>
                  <a:lnTo>
                    <a:pt x="49051" y="796121"/>
                  </a:lnTo>
                  <a:lnTo>
                    <a:pt x="69615" y="837447"/>
                  </a:lnTo>
                  <a:lnTo>
                    <a:pt x="93369" y="876773"/>
                  </a:lnTo>
                  <a:lnTo>
                    <a:pt x="120142" y="913926"/>
                  </a:lnTo>
                  <a:lnTo>
                    <a:pt x="149765" y="948740"/>
                  </a:lnTo>
                  <a:lnTo>
                    <a:pt x="182067" y="981042"/>
                  </a:lnTo>
                  <a:lnTo>
                    <a:pt x="216881" y="1010665"/>
                  </a:lnTo>
                  <a:lnTo>
                    <a:pt x="254034" y="1037438"/>
                  </a:lnTo>
                  <a:lnTo>
                    <a:pt x="293360" y="1061192"/>
                  </a:lnTo>
                  <a:lnTo>
                    <a:pt x="334686" y="1081756"/>
                  </a:lnTo>
                  <a:lnTo>
                    <a:pt x="377844" y="1098962"/>
                  </a:lnTo>
                  <a:lnTo>
                    <a:pt x="422665" y="1112640"/>
                  </a:lnTo>
                  <a:lnTo>
                    <a:pt x="468978" y="1122620"/>
                  </a:lnTo>
                  <a:lnTo>
                    <a:pt x="516614" y="1128732"/>
                  </a:lnTo>
                  <a:lnTo>
                    <a:pt x="565403" y="1130808"/>
                  </a:lnTo>
                  <a:lnTo>
                    <a:pt x="614193" y="1128732"/>
                  </a:lnTo>
                  <a:lnTo>
                    <a:pt x="661829" y="1122620"/>
                  </a:lnTo>
                  <a:lnTo>
                    <a:pt x="708142" y="1112640"/>
                  </a:lnTo>
                  <a:lnTo>
                    <a:pt x="752963" y="1098962"/>
                  </a:lnTo>
                  <a:lnTo>
                    <a:pt x="796121" y="1081756"/>
                  </a:lnTo>
                  <a:lnTo>
                    <a:pt x="837447" y="1061192"/>
                  </a:lnTo>
                  <a:lnTo>
                    <a:pt x="876773" y="1037438"/>
                  </a:lnTo>
                  <a:lnTo>
                    <a:pt x="913926" y="1010665"/>
                  </a:lnTo>
                  <a:lnTo>
                    <a:pt x="948740" y="981042"/>
                  </a:lnTo>
                  <a:lnTo>
                    <a:pt x="981042" y="948740"/>
                  </a:lnTo>
                  <a:lnTo>
                    <a:pt x="1010665" y="913926"/>
                  </a:lnTo>
                  <a:lnTo>
                    <a:pt x="1037438" y="876773"/>
                  </a:lnTo>
                  <a:lnTo>
                    <a:pt x="1061192" y="837447"/>
                  </a:lnTo>
                  <a:lnTo>
                    <a:pt x="1081756" y="796121"/>
                  </a:lnTo>
                  <a:lnTo>
                    <a:pt x="1098962" y="752963"/>
                  </a:lnTo>
                  <a:lnTo>
                    <a:pt x="1112640" y="708142"/>
                  </a:lnTo>
                  <a:lnTo>
                    <a:pt x="1122620" y="661829"/>
                  </a:lnTo>
                  <a:lnTo>
                    <a:pt x="1128732" y="614193"/>
                  </a:lnTo>
                  <a:lnTo>
                    <a:pt x="1130807" y="565404"/>
                  </a:lnTo>
                  <a:lnTo>
                    <a:pt x="1128732" y="516614"/>
                  </a:lnTo>
                  <a:lnTo>
                    <a:pt x="1122620" y="468978"/>
                  </a:lnTo>
                  <a:lnTo>
                    <a:pt x="1112640" y="422665"/>
                  </a:lnTo>
                  <a:lnTo>
                    <a:pt x="1098962" y="377844"/>
                  </a:lnTo>
                  <a:lnTo>
                    <a:pt x="1081756" y="334686"/>
                  </a:lnTo>
                  <a:lnTo>
                    <a:pt x="1061192" y="293360"/>
                  </a:lnTo>
                  <a:lnTo>
                    <a:pt x="1037438" y="254034"/>
                  </a:lnTo>
                  <a:lnTo>
                    <a:pt x="1010665" y="216881"/>
                  </a:lnTo>
                  <a:lnTo>
                    <a:pt x="981042" y="182067"/>
                  </a:lnTo>
                  <a:lnTo>
                    <a:pt x="948740" y="149765"/>
                  </a:lnTo>
                  <a:lnTo>
                    <a:pt x="913926" y="120142"/>
                  </a:lnTo>
                  <a:lnTo>
                    <a:pt x="876773" y="93369"/>
                  </a:lnTo>
                  <a:lnTo>
                    <a:pt x="837447" y="69615"/>
                  </a:lnTo>
                  <a:lnTo>
                    <a:pt x="796121" y="49051"/>
                  </a:lnTo>
                  <a:lnTo>
                    <a:pt x="752963" y="31845"/>
                  </a:lnTo>
                  <a:lnTo>
                    <a:pt x="708142" y="18167"/>
                  </a:lnTo>
                  <a:lnTo>
                    <a:pt x="661829" y="8187"/>
                  </a:lnTo>
                  <a:lnTo>
                    <a:pt x="614193" y="2075"/>
                  </a:lnTo>
                  <a:lnTo>
                    <a:pt x="565403" y="0"/>
                  </a:lnTo>
                  <a:close/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81" name="object 41">
              <a:extLst>
                <a:ext uri="{FF2B5EF4-FFF2-40B4-BE49-F238E27FC236}">
                  <a16:creationId xmlns:a16="http://schemas.microsoft.com/office/drawing/2014/main" id="{5EF69DED-DA14-465B-AEAE-45030D81CA20}"/>
                </a:ext>
              </a:extLst>
            </p:cNvPr>
            <p:cNvSpPr/>
            <p:nvPr/>
          </p:nvSpPr>
          <p:spPr>
            <a:xfrm>
              <a:off x="3547109" y="2032255"/>
              <a:ext cx="1130936" cy="1130935"/>
            </a:xfrm>
            <a:custGeom>
              <a:avLst/>
              <a:gdLst/>
              <a:ahLst/>
              <a:cxnLst/>
              <a:rect l="l" t="t" r="r" b="b"/>
              <a:pathLst>
                <a:path w="1130935" h="1130935">
                  <a:moveTo>
                    <a:pt x="0" y="565404"/>
                  </a:moveTo>
                  <a:lnTo>
                    <a:pt x="2075" y="516614"/>
                  </a:lnTo>
                  <a:lnTo>
                    <a:pt x="8187" y="468978"/>
                  </a:lnTo>
                  <a:lnTo>
                    <a:pt x="18167" y="422665"/>
                  </a:lnTo>
                  <a:lnTo>
                    <a:pt x="31845" y="377844"/>
                  </a:lnTo>
                  <a:lnTo>
                    <a:pt x="49051" y="334686"/>
                  </a:lnTo>
                  <a:lnTo>
                    <a:pt x="69615" y="293360"/>
                  </a:lnTo>
                  <a:lnTo>
                    <a:pt x="93369" y="254034"/>
                  </a:lnTo>
                  <a:lnTo>
                    <a:pt x="120142" y="216881"/>
                  </a:lnTo>
                  <a:lnTo>
                    <a:pt x="149765" y="182067"/>
                  </a:lnTo>
                  <a:lnTo>
                    <a:pt x="182067" y="149765"/>
                  </a:lnTo>
                  <a:lnTo>
                    <a:pt x="216881" y="120142"/>
                  </a:lnTo>
                  <a:lnTo>
                    <a:pt x="254034" y="93369"/>
                  </a:lnTo>
                  <a:lnTo>
                    <a:pt x="293360" y="69615"/>
                  </a:lnTo>
                  <a:lnTo>
                    <a:pt x="334686" y="49051"/>
                  </a:lnTo>
                  <a:lnTo>
                    <a:pt x="377844" y="31845"/>
                  </a:lnTo>
                  <a:lnTo>
                    <a:pt x="422665" y="18167"/>
                  </a:lnTo>
                  <a:lnTo>
                    <a:pt x="468978" y="8187"/>
                  </a:lnTo>
                  <a:lnTo>
                    <a:pt x="516614" y="2075"/>
                  </a:lnTo>
                  <a:lnTo>
                    <a:pt x="565403" y="0"/>
                  </a:lnTo>
                  <a:lnTo>
                    <a:pt x="614193" y="2075"/>
                  </a:lnTo>
                  <a:lnTo>
                    <a:pt x="661829" y="8187"/>
                  </a:lnTo>
                  <a:lnTo>
                    <a:pt x="708142" y="18167"/>
                  </a:lnTo>
                  <a:lnTo>
                    <a:pt x="752963" y="31845"/>
                  </a:lnTo>
                  <a:lnTo>
                    <a:pt x="796121" y="49051"/>
                  </a:lnTo>
                  <a:lnTo>
                    <a:pt x="837447" y="69615"/>
                  </a:lnTo>
                  <a:lnTo>
                    <a:pt x="876773" y="93369"/>
                  </a:lnTo>
                  <a:lnTo>
                    <a:pt x="913926" y="120142"/>
                  </a:lnTo>
                  <a:lnTo>
                    <a:pt x="948740" y="149765"/>
                  </a:lnTo>
                  <a:lnTo>
                    <a:pt x="981042" y="182067"/>
                  </a:lnTo>
                  <a:lnTo>
                    <a:pt x="1010665" y="216881"/>
                  </a:lnTo>
                  <a:lnTo>
                    <a:pt x="1037438" y="254034"/>
                  </a:lnTo>
                  <a:lnTo>
                    <a:pt x="1061192" y="293360"/>
                  </a:lnTo>
                  <a:lnTo>
                    <a:pt x="1081756" y="334686"/>
                  </a:lnTo>
                  <a:lnTo>
                    <a:pt x="1098962" y="377844"/>
                  </a:lnTo>
                  <a:lnTo>
                    <a:pt x="1112640" y="422665"/>
                  </a:lnTo>
                  <a:lnTo>
                    <a:pt x="1122620" y="468978"/>
                  </a:lnTo>
                  <a:lnTo>
                    <a:pt x="1128732" y="516614"/>
                  </a:lnTo>
                  <a:lnTo>
                    <a:pt x="1130807" y="565404"/>
                  </a:lnTo>
                  <a:lnTo>
                    <a:pt x="1128732" y="614193"/>
                  </a:lnTo>
                  <a:lnTo>
                    <a:pt x="1122620" y="661829"/>
                  </a:lnTo>
                  <a:lnTo>
                    <a:pt x="1112640" y="708142"/>
                  </a:lnTo>
                  <a:lnTo>
                    <a:pt x="1098962" y="752963"/>
                  </a:lnTo>
                  <a:lnTo>
                    <a:pt x="1081756" y="796121"/>
                  </a:lnTo>
                  <a:lnTo>
                    <a:pt x="1061192" y="837447"/>
                  </a:lnTo>
                  <a:lnTo>
                    <a:pt x="1037438" y="876773"/>
                  </a:lnTo>
                  <a:lnTo>
                    <a:pt x="1010665" y="913926"/>
                  </a:lnTo>
                  <a:lnTo>
                    <a:pt x="981042" y="948740"/>
                  </a:lnTo>
                  <a:lnTo>
                    <a:pt x="948740" y="981042"/>
                  </a:lnTo>
                  <a:lnTo>
                    <a:pt x="913926" y="1010665"/>
                  </a:lnTo>
                  <a:lnTo>
                    <a:pt x="876773" y="1037438"/>
                  </a:lnTo>
                  <a:lnTo>
                    <a:pt x="837447" y="1061192"/>
                  </a:lnTo>
                  <a:lnTo>
                    <a:pt x="796121" y="1081756"/>
                  </a:lnTo>
                  <a:lnTo>
                    <a:pt x="752963" y="1098962"/>
                  </a:lnTo>
                  <a:lnTo>
                    <a:pt x="708142" y="1112640"/>
                  </a:lnTo>
                  <a:lnTo>
                    <a:pt x="661829" y="1122620"/>
                  </a:lnTo>
                  <a:lnTo>
                    <a:pt x="614193" y="1128732"/>
                  </a:lnTo>
                  <a:lnTo>
                    <a:pt x="565403" y="1130808"/>
                  </a:lnTo>
                  <a:lnTo>
                    <a:pt x="516614" y="1128732"/>
                  </a:lnTo>
                  <a:lnTo>
                    <a:pt x="468978" y="1122620"/>
                  </a:lnTo>
                  <a:lnTo>
                    <a:pt x="422665" y="1112640"/>
                  </a:lnTo>
                  <a:lnTo>
                    <a:pt x="377844" y="1098962"/>
                  </a:lnTo>
                  <a:lnTo>
                    <a:pt x="334686" y="1081756"/>
                  </a:lnTo>
                  <a:lnTo>
                    <a:pt x="293360" y="1061192"/>
                  </a:lnTo>
                  <a:lnTo>
                    <a:pt x="254034" y="1037438"/>
                  </a:lnTo>
                  <a:lnTo>
                    <a:pt x="216881" y="1010665"/>
                  </a:lnTo>
                  <a:lnTo>
                    <a:pt x="182067" y="981042"/>
                  </a:lnTo>
                  <a:lnTo>
                    <a:pt x="149765" y="948740"/>
                  </a:lnTo>
                  <a:lnTo>
                    <a:pt x="120142" y="913926"/>
                  </a:lnTo>
                  <a:lnTo>
                    <a:pt x="93369" y="876773"/>
                  </a:lnTo>
                  <a:lnTo>
                    <a:pt x="69615" y="837447"/>
                  </a:lnTo>
                  <a:lnTo>
                    <a:pt x="49051" y="796121"/>
                  </a:lnTo>
                  <a:lnTo>
                    <a:pt x="31845" y="752963"/>
                  </a:lnTo>
                  <a:lnTo>
                    <a:pt x="18167" y="708142"/>
                  </a:lnTo>
                  <a:lnTo>
                    <a:pt x="8187" y="661829"/>
                  </a:lnTo>
                  <a:lnTo>
                    <a:pt x="2075" y="614193"/>
                  </a:lnTo>
                  <a:lnTo>
                    <a:pt x="0" y="565404"/>
                  </a:lnTo>
                  <a:close/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23" name="TextBox 22">
            <a:extLst>
              <a:ext uri="{FF2B5EF4-FFF2-40B4-BE49-F238E27FC236}">
                <a16:creationId xmlns:a16="http://schemas.microsoft.com/office/drawing/2014/main" id="{7BA73519-AF16-46D2-B536-47B6CB5C43F2}"/>
              </a:ext>
            </a:extLst>
          </p:cNvPr>
          <p:cNvSpPr txBox="1"/>
          <p:nvPr/>
        </p:nvSpPr>
        <p:spPr>
          <a:xfrm>
            <a:off x="400318" y="2119769"/>
            <a:ext cx="994499" cy="184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b-NO"/>
            </a:defPPr>
            <a:lvl1pPr>
              <a:defRPr sz="800" b="1">
                <a:solidFill>
                  <a:srgbClr val="5C5C5C"/>
                </a:solidFill>
                <a:latin typeface="Open San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err="1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Behovshaver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24" name="object 65">
            <a:extLst>
              <a:ext uri="{FF2B5EF4-FFF2-40B4-BE49-F238E27FC236}">
                <a16:creationId xmlns:a16="http://schemas.microsoft.com/office/drawing/2014/main" id="{B5BEEF05-5809-4D4A-9EEC-B26799C508D7}"/>
              </a:ext>
            </a:extLst>
          </p:cNvPr>
          <p:cNvSpPr/>
          <p:nvPr/>
        </p:nvSpPr>
        <p:spPr>
          <a:xfrm rot="2636572" flipV="1">
            <a:off x="1090904" y="3029964"/>
            <a:ext cx="767139" cy="203044"/>
          </a:xfrm>
          <a:custGeom>
            <a:avLst/>
            <a:gdLst/>
            <a:ahLst/>
            <a:cxnLst/>
            <a:rect l="l" t="t" r="r" b="b"/>
            <a:pathLst>
              <a:path w="1685289" h="352425">
                <a:moveTo>
                  <a:pt x="1621144" y="306764"/>
                </a:moveTo>
                <a:lnTo>
                  <a:pt x="1602486" y="327913"/>
                </a:lnTo>
                <a:lnTo>
                  <a:pt x="1684782" y="349758"/>
                </a:lnTo>
                <a:lnTo>
                  <a:pt x="1670790" y="315087"/>
                </a:lnTo>
                <a:lnTo>
                  <a:pt x="1631188" y="315087"/>
                </a:lnTo>
                <a:lnTo>
                  <a:pt x="1621144" y="306764"/>
                </a:lnTo>
                <a:close/>
              </a:path>
              <a:path w="1685289" h="352425">
                <a:moveTo>
                  <a:pt x="1633736" y="292491"/>
                </a:moveTo>
                <a:lnTo>
                  <a:pt x="1621144" y="306764"/>
                </a:lnTo>
                <a:lnTo>
                  <a:pt x="1631188" y="315087"/>
                </a:lnTo>
                <a:lnTo>
                  <a:pt x="1643380" y="300482"/>
                </a:lnTo>
                <a:lnTo>
                  <a:pt x="1633736" y="292491"/>
                </a:lnTo>
                <a:close/>
              </a:path>
              <a:path w="1685289" h="352425">
                <a:moveTo>
                  <a:pt x="1652905" y="270763"/>
                </a:moveTo>
                <a:lnTo>
                  <a:pt x="1633736" y="292491"/>
                </a:lnTo>
                <a:lnTo>
                  <a:pt x="1643380" y="300482"/>
                </a:lnTo>
                <a:lnTo>
                  <a:pt x="1631188" y="315087"/>
                </a:lnTo>
                <a:lnTo>
                  <a:pt x="1670790" y="315087"/>
                </a:lnTo>
                <a:lnTo>
                  <a:pt x="1652905" y="270763"/>
                </a:lnTo>
                <a:close/>
              </a:path>
              <a:path w="1685289" h="352425">
                <a:moveTo>
                  <a:pt x="1583689" y="252222"/>
                </a:moveTo>
                <a:lnTo>
                  <a:pt x="1572387" y="267588"/>
                </a:lnTo>
                <a:lnTo>
                  <a:pt x="1585976" y="277622"/>
                </a:lnTo>
                <a:lnTo>
                  <a:pt x="1621144" y="306764"/>
                </a:lnTo>
                <a:lnTo>
                  <a:pt x="1633736" y="292491"/>
                </a:lnTo>
                <a:lnTo>
                  <a:pt x="1598168" y="263017"/>
                </a:lnTo>
                <a:lnTo>
                  <a:pt x="1583689" y="252222"/>
                </a:lnTo>
                <a:close/>
              </a:path>
              <a:path w="1685289" h="352425">
                <a:moveTo>
                  <a:pt x="1472311" y="177292"/>
                </a:moveTo>
                <a:lnTo>
                  <a:pt x="1462532" y="193675"/>
                </a:lnTo>
                <a:lnTo>
                  <a:pt x="1488567" y="209296"/>
                </a:lnTo>
                <a:lnTo>
                  <a:pt x="1526286" y="234442"/>
                </a:lnTo>
                <a:lnTo>
                  <a:pt x="1536954" y="218694"/>
                </a:lnTo>
                <a:lnTo>
                  <a:pt x="1499108" y="193421"/>
                </a:lnTo>
                <a:lnTo>
                  <a:pt x="1472311" y="177292"/>
                </a:lnTo>
                <a:close/>
              </a:path>
              <a:path w="1685289" h="352425">
                <a:moveTo>
                  <a:pt x="1353693" y="114553"/>
                </a:moveTo>
                <a:lnTo>
                  <a:pt x="1345564" y="131825"/>
                </a:lnTo>
                <a:lnTo>
                  <a:pt x="1386586" y="151384"/>
                </a:lnTo>
                <a:lnTo>
                  <a:pt x="1413256" y="165608"/>
                </a:lnTo>
                <a:lnTo>
                  <a:pt x="1422273" y="148844"/>
                </a:lnTo>
                <a:lnTo>
                  <a:pt x="1395602" y="134493"/>
                </a:lnTo>
                <a:lnTo>
                  <a:pt x="1353693" y="114553"/>
                </a:lnTo>
                <a:close/>
              </a:path>
              <a:path w="1685289" h="352425">
                <a:moveTo>
                  <a:pt x="1228725" y="64770"/>
                </a:moveTo>
                <a:lnTo>
                  <a:pt x="1223010" y="82931"/>
                </a:lnTo>
                <a:lnTo>
                  <a:pt x="1226820" y="84200"/>
                </a:lnTo>
                <a:lnTo>
                  <a:pt x="1280922" y="103886"/>
                </a:lnTo>
                <a:lnTo>
                  <a:pt x="1293495" y="109220"/>
                </a:lnTo>
                <a:lnTo>
                  <a:pt x="1300861" y="91694"/>
                </a:lnTo>
                <a:lnTo>
                  <a:pt x="1288288" y="86360"/>
                </a:lnTo>
                <a:lnTo>
                  <a:pt x="1233424" y="66294"/>
                </a:lnTo>
                <a:lnTo>
                  <a:pt x="1228725" y="64770"/>
                </a:lnTo>
                <a:close/>
              </a:path>
              <a:path w="1685289" h="352425">
                <a:moveTo>
                  <a:pt x="1099312" y="29210"/>
                </a:moveTo>
                <a:lnTo>
                  <a:pt x="1095375" y="47751"/>
                </a:lnTo>
                <a:lnTo>
                  <a:pt x="1116965" y="52450"/>
                </a:lnTo>
                <a:lnTo>
                  <a:pt x="1168781" y="66039"/>
                </a:lnTo>
                <a:lnTo>
                  <a:pt x="1173734" y="47625"/>
                </a:lnTo>
                <a:lnTo>
                  <a:pt x="1121918" y="34036"/>
                </a:lnTo>
                <a:lnTo>
                  <a:pt x="1099312" y="29210"/>
                </a:lnTo>
                <a:close/>
              </a:path>
              <a:path w="1685289" h="352425">
                <a:moveTo>
                  <a:pt x="966978" y="7365"/>
                </a:moveTo>
                <a:lnTo>
                  <a:pt x="964692" y="26288"/>
                </a:lnTo>
                <a:lnTo>
                  <a:pt x="1005459" y="31114"/>
                </a:lnTo>
                <a:lnTo>
                  <a:pt x="1039749" y="36957"/>
                </a:lnTo>
                <a:lnTo>
                  <a:pt x="1042797" y="18161"/>
                </a:lnTo>
                <a:lnTo>
                  <a:pt x="1008634" y="12446"/>
                </a:lnTo>
                <a:lnTo>
                  <a:pt x="966978" y="7365"/>
                </a:lnTo>
                <a:close/>
              </a:path>
              <a:path w="1685289" h="352425">
                <a:moveTo>
                  <a:pt x="837057" y="0"/>
                </a:moveTo>
                <a:lnTo>
                  <a:pt x="832612" y="0"/>
                </a:lnTo>
                <a:lnTo>
                  <a:pt x="832993" y="19050"/>
                </a:lnTo>
                <a:lnTo>
                  <a:pt x="836549" y="19050"/>
                </a:lnTo>
                <a:lnTo>
                  <a:pt x="892937" y="20447"/>
                </a:lnTo>
                <a:lnTo>
                  <a:pt x="908177" y="21462"/>
                </a:lnTo>
                <a:lnTo>
                  <a:pt x="909574" y="2539"/>
                </a:lnTo>
                <a:lnTo>
                  <a:pt x="894334" y="1397"/>
                </a:lnTo>
                <a:lnTo>
                  <a:pt x="837057" y="0"/>
                </a:lnTo>
                <a:close/>
              </a:path>
              <a:path w="1685289" h="352425">
                <a:moveTo>
                  <a:pt x="774954" y="1397"/>
                </a:moveTo>
                <a:lnTo>
                  <a:pt x="722884" y="4952"/>
                </a:lnTo>
                <a:lnTo>
                  <a:pt x="698627" y="7747"/>
                </a:lnTo>
                <a:lnTo>
                  <a:pt x="700786" y="26670"/>
                </a:lnTo>
                <a:lnTo>
                  <a:pt x="724281" y="24002"/>
                </a:lnTo>
                <a:lnTo>
                  <a:pt x="776224" y="20447"/>
                </a:lnTo>
                <a:lnTo>
                  <a:pt x="774954" y="1397"/>
                </a:lnTo>
                <a:close/>
              </a:path>
              <a:path w="1685289" h="352425">
                <a:moveTo>
                  <a:pt x="641604" y="15494"/>
                </a:moveTo>
                <a:lnTo>
                  <a:pt x="609854" y="20574"/>
                </a:lnTo>
                <a:lnTo>
                  <a:pt x="566293" y="29845"/>
                </a:lnTo>
                <a:lnTo>
                  <a:pt x="570230" y="48513"/>
                </a:lnTo>
                <a:lnTo>
                  <a:pt x="612902" y="39370"/>
                </a:lnTo>
                <a:lnTo>
                  <a:pt x="644652" y="34289"/>
                </a:lnTo>
                <a:lnTo>
                  <a:pt x="641604" y="15494"/>
                </a:lnTo>
                <a:close/>
              </a:path>
              <a:path w="1685289" h="352425">
                <a:moveTo>
                  <a:pt x="510413" y="43814"/>
                </a:moveTo>
                <a:lnTo>
                  <a:pt x="498602" y="46989"/>
                </a:lnTo>
                <a:lnTo>
                  <a:pt x="443992" y="64135"/>
                </a:lnTo>
                <a:lnTo>
                  <a:pt x="436753" y="66801"/>
                </a:lnTo>
                <a:lnTo>
                  <a:pt x="443357" y="84709"/>
                </a:lnTo>
                <a:lnTo>
                  <a:pt x="449707" y="82296"/>
                </a:lnTo>
                <a:lnTo>
                  <a:pt x="503555" y="65405"/>
                </a:lnTo>
                <a:lnTo>
                  <a:pt x="515239" y="62357"/>
                </a:lnTo>
                <a:lnTo>
                  <a:pt x="510413" y="43814"/>
                </a:lnTo>
                <a:close/>
              </a:path>
              <a:path w="1685289" h="352425">
                <a:moveTo>
                  <a:pt x="382905" y="86995"/>
                </a:moveTo>
                <a:lnTo>
                  <a:pt x="337185" y="106425"/>
                </a:lnTo>
                <a:lnTo>
                  <a:pt x="312928" y="118237"/>
                </a:lnTo>
                <a:lnTo>
                  <a:pt x="321183" y="135382"/>
                </a:lnTo>
                <a:lnTo>
                  <a:pt x="344678" y="123951"/>
                </a:lnTo>
                <a:lnTo>
                  <a:pt x="390398" y="104521"/>
                </a:lnTo>
                <a:lnTo>
                  <a:pt x="382905" y="86995"/>
                </a:lnTo>
                <a:close/>
              </a:path>
              <a:path w="1685289" h="352425">
                <a:moveTo>
                  <a:pt x="261620" y="144525"/>
                </a:moveTo>
                <a:lnTo>
                  <a:pt x="234442" y="159385"/>
                </a:lnTo>
                <a:lnTo>
                  <a:pt x="195580" y="183387"/>
                </a:lnTo>
                <a:lnTo>
                  <a:pt x="205486" y="199517"/>
                </a:lnTo>
                <a:lnTo>
                  <a:pt x="243586" y="176149"/>
                </a:lnTo>
                <a:lnTo>
                  <a:pt x="270764" y="161289"/>
                </a:lnTo>
                <a:lnTo>
                  <a:pt x="261620" y="144525"/>
                </a:lnTo>
                <a:close/>
              </a:path>
              <a:path w="1685289" h="352425">
                <a:moveTo>
                  <a:pt x="147574" y="215392"/>
                </a:moveTo>
                <a:lnTo>
                  <a:pt x="136398" y="223138"/>
                </a:lnTo>
                <a:lnTo>
                  <a:pt x="89408" y="258952"/>
                </a:lnTo>
                <a:lnTo>
                  <a:pt x="85979" y="261747"/>
                </a:lnTo>
                <a:lnTo>
                  <a:pt x="98298" y="276225"/>
                </a:lnTo>
                <a:lnTo>
                  <a:pt x="100837" y="274065"/>
                </a:lnTo>
                <a:lnTo>
                  <a:pt x="147193" y="238760"/>
                </a:lnTo>
                <a:lnTo>
                  <a:pt x="158369" y="231139"/>
                </a:lnTo>
                <a:lnTo>
                  <a:pt x="147574" y="215392"/>
                </a:lnTo>
                <a:close/>
              </a:path>
              <a:path w="1685289" h="352425">
                <a:moveTo>
                  <a:pt x="42037" y="299085"/>
                </a:moveTo>
                <a:lnTo>
                  <a:pt x="0" y="338582"/>
                </a:lnTo>
                <a:lnTo>
                  <a:pt x="13081" y="352425"/>
                </a:lnTo>
                <a:lnTo>
                  <a:pt x="55118" y="313055"/>
                </a:lnTo>
                <a:lnTo>
                  <a:pt x="42037" y="299085"/>
                </a:lnTo>
                <a:close/>
              </a:path>
            </a:pathLst>
          </a:custGeom>
          <a:solidFill>
            <a:srgbClr val="A6A6A6"/>
          </a:solidFill>
          <a:ln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14693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25" name="object 21">
            <a:extLst>
              <a:ext uri="{FF2B5EF4-FFF2-40B4-BE49-F238E27FC236}">
                <a16:creationId xmlns:a16="http://schemas.microsoft.com/office/drawing/2014/main" id="{668B59D2-01C8-478E-9DBC-4745A455120B}"/>
              </a:ext>
            </a:extLst>
          </p:cNvPr>
          <p:cNvSpPr txBox="1"/>
          <p:nvPr/>
        </p:nvSpPr>
        <p:spPr>
          <a:xfrm>
            <a:off x="224951" y="3147714"/>
            <a:ext cx="1052868" cy="4154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nb-NO"/>
            </a:defPPr>
            <a:lvl1pPr marL="12700" marR="5080" indent="635" algn="ctr">
              <a:defRPr sz="900" spc="-10">
                <a:solidFill>
                  <a:srgbClr val="000000"/>
                </a:solidFill>
                <a:latin typeface="Open Sans"/>
                <a:cs typeface="Verdana"/>
              </a:defRPr>
            </a:lvl1pPr>
          </a:lstStyle>
          <a:p>
            <a:pPr marL="12700" marR="5080" lvl="0" indent="635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-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</a:rPr>
              <a:t>Melder </a:t>
            </a:r>
            <a:r>
              <a:rPr kumimoji="0" lang="en-US" sz="900" b="0" i="0" u="none" strike="noStrike" kern="1200" cap="none" spc="-1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</a:rPr>
              <a:t>behov</a:t>
            </a:r>
            <a:r>
              <a:rPr kumimoji="0" lang="en-US" sz="900" b="0" i="0" u="none" strike="noStrike" kern="1200" cap="none" spc="-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</a:rPr>
              <a:t> via </a:t>
            </a:r>
            <a:r>
              <a:rPr kumimoji="0" lang="en-US" sz="900" b="0" i="0" u="none" strike="noStrike" kern="1200" cap="none" spc="-1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</a:rPr>
              <a:t>behovsinnmelidngs-skjema</a:t>
            </a:r>
            <a:endParaRPr kumimoji="0" sz="900" b="0" i="0" u="none" strike="noStrike" kern="1200" cap="none" spc="-1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</a:endParaRPr>
          </a:p>
        </p:txBody>
      </p:sp>
      <p:sp>
        <p:nvSpPr>
          <p:cNvPr id="26" name="object 65">
            <a:extLst>
              <a:ext uri="{FF2B5EF4-FFF2-40B4-BE49-F238E27FC236}">
                <a16:creationId xmlns:a16="http://schemas.microsoft.com/office/drawing/2014/main" id="{4DBB2AC9-6D28-4388-A9A5-EE08E7F0C3A1}"/>
              </a:ext>
            </a:extLst>
          </p:cNvPr>
          <p:cNvSpPr/>
          <p:nvPr/>
        </p:nvSpPr>
        <p:spPr>
          <a:xfrm rot="18869929">
            <a:off x="2175501" y="2448836"/>
            <a:ext cx="730989" cy="110109"/>
          </a:xfrm>
          <a:custGeom>
            <a:avLst/>
            <a:gdLst/>
            <a:ahLst/>
            <a:cxnLst/>
            <a:rect l="l" t="t" r="r" b="b"/>
            <a:pathLst>
              <a:path w="1685289" h="352425">
                <a:moveTo>
                  <a:pt x="1621144" y="306764"/>
                </a:moveTo>
                <a:lnTo>
                  <a:pt x="1602486" y="327913"/>
                </a:lnTo>
                <a:lnTo>
                  <a:pt x="1684782" y="349758"/>
                </a:lnTo>
                <a:lnTo>
                  <a:pt x="1670790" y="315087"/>
                </a:lnTo>
                <a:lnTo>
                  <a:pt x="1631188" y="315087"/>
                </a:lnTo>
                <a:lnTo>
                  <a:pt x="1621144" y="306764"/>
                </a:lnTo>
                <a:close/>
              </a:path>
              <a:path w="1685289" h="352425">
                <a:moveTo>
                  <a:pt x="1633736" y="292491"/>
                </a:moveTo>
                <a:lnTo>
                  <a:pt x="1621144" y="306764"/>
                </a:lnTo>
                <a:lnTo>
                  <a:pt x="1631188" y="315087"/>
                </a:lnTo>
                <a:lnTo>
                  <a:pt x="1643380" y="300482"/>
                </a:lnTo>
                <a:lnTo>
                  <a:pt x="1633736" y="292491"/>
                </a:lnTo>
                <a:close/>
              </a:path>
              <a:path w="1685289" h="352425">
                <a:moveTo>
                  <a:pt x="1652905" y="270763"/>
                </a:moveTo>
                <a:lnTo>
                  <a:pt x="1633736" y="292491"/>
                </a:lnTo>
                <a:lnTo>
                  <a:pt x="1643380" y="300482"/>
                </a:lnTo>
                <a:lnTo>
                  <a:pt x="1631188" y="315087"/>
                </a:lnTo>
                <a:lnTo>
                  <a:pt x="1670790" y="315087"/>
                </a:lnTo>
                <a:lnTo>
                  <a:pt x="1652905" y="270763"/>
                </a:lnTo>
                <a:close/>
              </a:path>
              <a:path w="1685289" h="352425">
                <a:moveTo>
                  <a:pt x="1583689" y="252222"/>
                </a:moveTo>
                <a:lnTo>
                  <a:pt x="1572387" y="267588"/>
                </a:lnTo>
                <a:lnTo>
                  <a:pt x="1585976" y="277622"/>
                </a:lnTo>
                <a:lnTo>
                  <a:pt x="1621144" y="306764"/>
                </a:lnTo>
                <a:lnTo>
                  <a:pt x="1633736" y="292491"/>
                </a:lnTo>
                <a:lnTo>
                  <a:pt x="1598168" y="263017"/>
                </a:lnTo>
                <a:lnTo>
                  <a:pt x="1583689" y="252222"/>
                </a:lnTo>
                <a:close/>
              </a:path>
              <a:path w="1685289" h="352425">
                <a:moveTo>
                  <a:pt x="1472311" y="177292"/>
                </a:moveTo>
                <a:lnTo>
                  <a:pt x="1462532" y="193675"/>
                </a:lnTo>
                <a:lnTo>
                  <a:pt x="1488567" y="209296"/>
                </a:lnTo>
                <a:lnTo>
                  <a:pt x="1526286" y="234442"/>
                </a:lnTo>
                <a:lnTo>
                  <a:pt x="1536954" y="218694"/>
                </a:lnTo>
                <a:lnTo>
                  <a:pt x="1499108" y="193421"/>
                </a:lnTo>
                <a:lnTo>
                  <a:pt x="1472311" y="177292"/>
                </a:lnTo>
                <a:close/>
              </a:path>
              <a:path w="1685289" h="352425">
                <a:moveTo>
                  <a:pt x="1353693" y="114553"/>
                </a:moveTo>
                <a:lnTo>
                  <a:pt x="1345564" y="131825"/>
                </a:lnTo>
                <a:lnTo>
                  <a:pt x="1386586" y="151384"/>
                </a:lnTo>
                <a:lnTo>
                  <a:pt x="1413256" y="165608"/>
                </a:lnTo>
                <a:lnTo>
                  <a:pt x="1422273" y="148844"/>
                </a:lnTo>
                <a:lnTo>
                  <a:pt x="1395602" y="134493"/>
                </a:lnTo>
                <a:lnTo>
                  <a:pt x="1353693" y="114553"/>
                </a:lnTo>
                <a:close/>
              </a:path>
              <a:path w="1685289" h="352425">
                <a:moveTo>
                  <a:pt x="1228725" y="64770"/>
                </a:moveTo>
                <a:lnTo>
                  <a:pt x="1223010" y="82931"/>
                </a:lnTo>
                <a:lnTo>
                  <a:pt x="1226820" y="84200"/>
                </a:lnTo>
                <a:lnTo>
                  <a:pt x="1280922" y="103886"/>
                </a:lnTo>
                <a:lnTo>
                  <a:pt x="1293495" y="109220"/>
                </a:lnTo>
                <a:lnTo>
                  <a:pt x="1300861" y="91694"/>
                </a:lnTo>
                <a:lnTo>
                  <a:pt x="1288288" y="86360"/>
                </a:lnTo>
                <a:lnTo>
                  <a:pt x="1233424" y="66294"/>
                </a:lnTo>
                <a:lnTo>
                  <a:pt x="1228725" y="64770"/>
                </a:lnTo>
                <a:close/>
              </a:path>
              <a:path w="1685289" h="352425">
                <a:moveTo>
                  <a:pt x="1099312" y="29210"/>
                </a:moveTo>
                <a:lnTo>
                  <a:pt x="1095375" y="47751"/>
                </a:lnTo>
                <a:lnTo>
                  <a:pt x="1116965" y="52450"/>
                </a:lnTo>
                <a:lnTo>
                  <a:pt x="1168781" y="66039"/>
                </a:lnTo>
                <a:lnTo>
                  <a:pt x="1173734" y="47625"/>
                </a:lnTo>
                <a:lnTo>
                  <a:pt x="1121918" y="34036"/>
                </a:lnTo>
                <a:lnTo>
                  <a:pt x="1099312" y="29210"/>
                </a:lnTo>
                <a:close/>
              </a:path>
              <a:path w="1685289" h="352425">
                <a:moveTo>
                  <a:pt x="966978" y="7365"/>
                </a:moveTo>
                <a:lnTo>
                  <a:pt x="964692" y="26288"/>
                </a:lnTo>
                <a:lnTo>
                  <a:pt x="1005459" y="31114"/>
                </a:lnTo>
                <a:lnTo>
                  <a:pt x="1039749" y="36957"/>
                </a:lnTo>
                <a:lnTo>
                  <a:pt x="1042797" y="18161"/>
                </a:lnTo>
                <a:lnTo>
                  <a:pt x="1008634" y="12446"/>
                </a:lnTo>
                <a:lnTo>
                  <a:pt x="966978" y="7365"/>
                </a:lnTo>
                <a:close/>
              </a:path>
              <a:path w="1685289" h="352425">
                <a:moveTo>
                  <a:pt x="837057" y="0"/>
                </a:moveTo>
                <a:lnTo>
                  <a:pt x="832612" y="0"/>
                </a:lnTo>
                <a:lnTo>
                  <a:pt x="832993" y="19050"/>
                </a:lnTo>
                <a:lnTo>
                  <a:pt x="836549" y="19050"/>
                </a:lnTo>
                <a:lnTo>
                  <a:pt x="892937" y="20447"/>
                </a:lnTo>
                <a:lnTo>
                  <a:pt x="908177" y="21462"/>
                </a:lnTo>
                <a:lnTo>
                  <a:pt x="909574" y="2539"/>
                </a:lnTo>
                <a:lnTo>
                  <a:pt x="894334" y="1397"/>
                </a:lnTo>
                <a:lnTo>
                  <a:pt x="837057" y="0"/>
                </a:lnTo>
                <a:close/>
              </a:path>
              <a:path w="1685289" h="352425">
                <a:moveTo>
                  <a:pt x="774954" y="1397"/>
                </a:moveTo>
                <a:lnTo>
                  <a:pt x="722884" y="4952"/>
                </a:lnTo>
                <a:lnTo>
                  <a:pt x="698627" y="7747"/>
                </a:lnTo>
                <a:lnTo>
                  <a:pt x="700786" y="26670"/>
                </a:lnTo>
                <a:lnTo>
                  <a:pt x="724281" y="24002"/>
                </a:lnTo>
                <a:lnTo>
                  <a:pt x="776224" y="20447"/>
                </a:lnTo>
                <a:lnTo>
                  <a:pt x="774954" y="1397"/>
                </a:lnTo>
                <a:close/>
              </a:path>
              <a:path w="1685289" h="352425">
                <a:moveTo>
                  <a:pt x="641604" y="15494"/>
                </a:moveTo>
                <a:lnTo>
                  <a:pt x="609854" y="20574"/>
                </a:lnTo>
                <a:lnTo>
                  <a:pt x="566293" y="29845"/>
                </a:lnTo>
                <a:lnTo>
                  <a:pt x="570230" y="48513"/>
                </a:lnTo>
                <a:lnTo>
                  <a:pt x="612902" y="39370"/>
                </a:lnTo>
                <a:lnTo>
                  <a:pt x="644652" y="34289"/>
                </a:lnTo>
                <a:lnTo>
                  <a:pt x="641604" y="15494"/>
                </a:lnTo>
                <a:close/>
              </a:path>
              <a:path w="1685289" h="352425">
                <a:moveTo>
                  <a:pt x="510413" y="43814"/>
                </a:moveTo>
                <a:lnTo>
                  <a:pt x="498602" y="46989"/>
                </a:lnTo>
                <a:lnTo>
                  <a:pt x="443992" y="64135"/>
                </a:lnTo>
                <a:lnTo>
                  <a:pt x="436753" y="66801"/>
                </a:lnTo>
                <a:lnTo>
                  <a:pt x="443357" y="84709"/>
                </a:lnTo>
                <a:lnTo>
                  <a:pt x="449707" y="82296"/>
                </a:lnTo>
                <a:lnTo>
                  <a:pt x="503555" y="65405"/>
                </a:lnTo>
                <a:lnTo>
                  <a:pt x="515239" y="62357"/>
                </a:lnTo>
                <a:lnTo>
                  <a:pt x="510413" y="43814"/>
                </a:lnTo>
                <a:close/>
              </a:path>
              <a:path w="1685289" h="352425">
                <a:moveTo>
                  <a:pt x="382905" y="86995"/>
                </a:moveTo>
                <a:lnTo>
                  <a:pt x="337185" y="106425"/>
                </a:lnTo>
                <a:lnTo>
                  <a:pt x="312928" y="118237"/>
                </a:lnTo>
                <a:lnTo>
                  <a:pt x="321183" y="135382"/>
                </a:lnTo>
                <a:lnTo>
                  <a:pt x="344678" y="123951"/>
                </a:lnTo>
                <a:lnTo>
                  <a:pt x="390398" y="104521"/>
                </a:lnTo>
                <a:lnTo>
                  <a:pt x="382905" y="86995"/>
                </a:lnTo>
                <a:close/>
              </a:path>
              <a:path w="1685289" h="352425">
                <a:moveTo>
                  <a:pt x="261620" y="144525"/>
                </a:moveTo>
                <a:lnTo>
                  <a:pt x="234442" y="159385"/>
                </a:lnTo>
                <a:lnTo>
                  <a:pt x="195580" y="183387"/>
                </a:lnTo>
                <a:lnTo>
                  <a:pt x="205486" y="199517"/>
                </a:lnTo>
                <a:lnTo>
                  <a:pt x="243586" y="176149"/>
                </a:lnTo>
                <a:lnTo>
                  <a:pt x="270764" y="161289"/>
                </a:lnTo>
                <a:lnTo>
                  <a:pt x="261620" y="144525"/>
                </a:lnTo>
                <a:close/>
              </a:path>
              <a:path w="1685289" h="352425">
                <a:moveTo>
                  <a:pt x="147574" y="215392"/>
                </a:moveTo>
                <a:lnTo>
                  <a:pt x="136398" y="223138"/>
                </a:lnTo>
                <a:lnTo>
                  <a:pt x="89408" y="258952"/>
                </a:lnTo>
                <a:lnTo>
                  <a:pt x="85979" y="261747"/>
                </a:lnTo>
                <a:lnTo>
                  <a:pt x="98298" y="276225"/>
                </a:lnTo>
                <a:lnTo>
                  <a:pt x="100837" y="274065"/>
                </a:lnTo>
                <a:lnTo>
                  <a:pt x="147193" y="238760"/>
                </a:lnTo>
                <a:lnTo>
                  <a:pt x="158369" y="231139"/>
                </a:lnTo>
                <a:lnTo>
                  <a:pt x="147574" y="215392"/>
                </a:lnTo>
                <a:close/>
              </a:path>
              <a:path w="1685289" h="352425">
                <a:moveTo>
                  <a:pt x="42037" y="299085"/>
                </a:moveTo>
                <a:lnTo>
                  <a:pt x="0" y="338582"/>
                </a:lnTo>
                <a:lnTo>
                  <a:pt x="13081" y="352425"/>
                </a:lnTo>
                <a:lnTo>
                  <a:pt x="55118" y="313055"/>
                </a:lnTo>
                <a:lnTo>
                  <a:pt x="42037" y="299085"/>
                </a:lnTo>
                <a:close/>
              </a:path>
            </a:pathLst>
          </a:custGeom>
          <a:solidFill>
            <a:srgbClr val="A6A6A6"/>
          </a:solidFill>
          <a:ln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7171E72E-AE84-4153-BE9B-2602EDA2E595}"/>
              </a:ext>
            </a:extLst>
          </p:cNvPr>
          <p:cNvGrpSpPr/>
          <p:nvPr/>
        </p:nvGrpSpPr>
        <p:grpSpPr>
          <a:xfrm>
            <a:off x="1949868" y="2931519"/>
            <a:ext cx="1391579" cy="1248063"/>
            <a:chOff x="2682578" y="3293298"/>
            <a:chExt cx="1360606" cy="1224343"/>
          </a:xfrm>
        </p:grpSpPr>
        <p:sp>
          <p:nvSpPr>
            <p:cNvPr id="69" name="object 17">
              <a:extLst>
                <a:ext uri="{FF2B5EF4-FFF2-40B4-BE49-F238E27FC236}">
                  <a16:creationId xmlns:a16="http://schemas.microsoft.com/office/drawing/2014/main" id="{99497F66-8F31-42B3-8E73-8947A452376A}"/>
                </a:ext>
              </a:extLst>
            </p:cNvPr>
            <p:cNvSpPr/>
            <p:nvPr/>
          </p:nvSpPr>
          <p:spPr>
            <a:xfrm>
              <a:off x="2751325" y="3356273"/>
              <a:ext cx="1041190" cy="1161368"/>
            </a:xfrm>
            <a:custGeom>
              <a:avLst/>
              <a:gdLst/>
              <a:ahLst/>
              <a:cxnLst/>
              <a:rect l="l" t="t" r="r" b="b"/>
              <a:pathLst>
                <a:path w="1259839" h="1405254">
                  <a:moveTo>
                    <a:pt x="556132" y="0"/>
                  </a:moveTo>
                  <a:lnTo>
                    <a:pt x="604293" y="1620"/>
                  </a:lnTo>
                  <a:lnTo>
                    <a:pt x="651582" y="6414"/>
                  </a:lnTo>
                  <a:lnTo>
                    <a:pt x="697894" y="14274"/>
                  </a:lnTo>
                  <a:lnTo>
                    <a:pt x="743124" y="25098"/>
                  </a:lnTo>
                  <a:lnTo>
                    <a:pt x="787169" y="38780"/>
                  </a:lnTo>
                  <a:lnTo>
                    <a:pt x="829923" y="55215"/>
                  </a:lnTo>
                  <a:lnTo>
                    <a:pt x="871281" y="74299"/>
                  </a:lnTo>
                  <a:lnTo>
                    <a:pt x="911140" y="95927"/>
                  </a:lnTo>
                  <a:lnTo>
                    <a:pt x="949394" y="119994"/>
                  </a:lnTo>
                  <a:lnTo>
                    <a:pt x="985938" y="146397"/>
                  </a:lnTo>
                  <a:lnTo>
                    <a:pt x="1020669" y="175029"/>
                  </a:lnTo>
                  <a:lnTo>
                    <a:pt x="1053480" y="205787"/>
                  </a:lnTo>
                  <a:lnTo>
                    <a:pt x="1084269" y="238566"/>
                  </a:lnTo>
                  <a:lnTo>
                    <a:pt x="1112929" y="273261"/>
                  </a:lnTo>
                  <a:lnTo>
                    <a:pt x="1139356" y="309767"/>
                  </a:lnTo>
                  <a:lnTo>
                    <a:pt x="1163447" y="347980"/>
                  </a:lnTo>
                  <a:lnTo>
                    <a:pt x="1185094" y="387794"/>
                  </a:lnTo>
                  <a:lnTo>
                    <a:pt x="1204196" y="429107"/>
                  </a:lnTo>
                  <a:lnTo>
                    <a:pt x="1220645" y="471812"/>
                  </a:lnTo>
                  <a:lnTo>
                    <a:pt x="1234339" y="515805"/>
                  </a:lnTo>
                  <a:lnTo>
                    <a:pt x="1245172" y="560981"/>
                  </a:lnTo>
                  <a:lnTo>
                    <a:pt x="1253039" y="607236"/>
                  </a:lnTo>
                  <a:lnTo>
                    <a:pt x="1257836" y="654465"/>
                  </a:lnTo>
                  <a:lnTo>
                    <a:pt x="1259459" y="702563"/>
                  </a:lnTo>
                  <a:lnTo>
                    <a:pt x="1257836" y="750662"/>
                  </a:lnTo>
                  <a:lnTo>
                    <a:pt x="1253039" y="797891"/>
                  </a:lnTo>
                  <a:lnTo>
                    <a:pt x="1245172" y="844146"/>
                  </a:lnTo>
                  <a:lnTo>
                    <a:pt x="1234339" y="889322"/>
                  </a:lnTo>
                  <a:lnTo>
                    <a:pt x="1220645" y="933315"/>
                  </a:lnTo>
                  <a:lnTo>
                    <a:pt x="1204196" y="976020"/>
                  </a:lnTo>
                  <a:lnTo>
                    <a:pt x="1185094" y="1017333"/>
                  </a:lnTo>
                  <a:lnTo>
                    <a:pt x="1163447" y="1057147"/>
                  </a:lnTo>
                  <a:lnTo>
                    <a:pt x="1139356" y="1095360"/>
                  </a:lnTo>
                  <a:lnTo>
                    <a:pt x="1112929" y="1131866"/>
                  </a:lnTo>
                  <a:lnTo>
                    <a:pt x="1084269" y="1166561"/>
                  </a:lnTo>
                  <a:lnTo>
                    <a:pt x="1053480" y="1199340"/>
                  </a:lnTo>
                  <a:lnTo>
                    <a:pt x="1020669" y="1230098"/>
                  </a:lnTo>
                  <a:lnTo>
                    <a:pt x="985938" y="1258730"/>
                  </a:lnTo>
                  <a:lnTo>
                    <a:pt x="949394" y="1285133"/>
                  </a:lnTo>
                  <a:lnTo>
                    <a:pt x="911140" y="1309200"/>
                  </a:lnTo>
                  <a:lnTo>
                    <a:pt x="871281" y="1330828"/>
                  </a:lnTo>
                  <a:lnTo>
                    <a:pt x="829923" y="1349912"/>
                  </a:lnTo>
                  <a:lnTo>
                    <a:pt x="787169" y="1366347"/>
                  </a:lnTo>
                  <a:lnTo>
                    <a:pt x="743124" y="1380029"/>
                  </a:lnTo>
                  <a:lnTo>
                    <a:pt x="697894" y="1390853"/>
                  </a:lnTo>
                  <a:lnTo>
                    <a:pt x="651582" y="1398713"/>
                  </a:lnTo>
                  <a:lnTo>
                    <a:pt x="604293" y="1403507"/>
                  </a:lnTo>
                  <a:lnTo>
                    <a:pt x="556132" y="1405128"/>
                  </a:lnTo>
                  <a:lnTo>
                    <a:pt x="506172" y="1403355"/>
                  </a:lnTo>
                  <a:lnTo>
                    <a:pt x="456808" y="1398092"/>
                  </a:lnTo>
                  <a:lnTo>
                    <a:pt x="408205" y="1389418"/>
                  </a:lnTo>
                  <a:lnTo>
                    <a:pt x="360525" y="1377414"/>
                  </a:lnTo>
                  <a:lnTo>
                    <a:pt x="313933" y="1362159"/>
                  </a:lnTo>
                  <a:lnTo>
                    <a:pt x="268593" y="1343733"/>
                  </a:lnTo>
                  <a:lnTo>
                    <a:pt x="224667" y="1322217"/>
                  </a:lnTo>
                  <a:lnTo>
                    <a:pt x="182321" y="1297691"/>
                  </a:lnTo>
                  <a:lnTo>
                    <a:pt x="141717" y="1270235"/>
                  </a:lnTo>
                  <a:lnTo>
                    <a:pt x="103019" y="1239929"/>
                  </a:lnTo>
                  <a:lnTo>
                    <a:pt x="66391" y="1206853"/>
                  </a:lnTo>
                  <a:lnTo>
                    <a:pt x="31997" y="1171088"/>
                  </a:lnTo>
                  <a:lnTo>
                    <a:pt x="0" y="1132713"/>
                  </a:lnTo>
                </a:path>
              </a:pathLst>
            </a:custGeom>
            <a:ln w="15240">
              <a:solidFill>
                <a:schemeClr val="tx2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70" name="object 18">
              <a:extLst>
                <a:ext uri="{FF2B5EF4-FFF2-40B4-BE49-F238E27FC236}">
                  <a16:creationId xmlns:a16="http://schemas.microsoft.com/office/drawing/2014/main" id="{E615B8EE-83EA-413D-9F76-7321012B6A49}"/>
                </a:ext>
              </a:extLst>
            </p:cNvPr>
            <p:cNvSpPr/>
            <p:nvPr/>
          </p:nvSpPr>
          <p:spPr>
            <a:xfrm>
              <a:off x="2682578" y="3409172"/>
              <a:ext cx="1056934" cy="1055884"/>
            </a:xfrm>
            <a:custGeom>
              <a:avLst/>
              <a:gdLst/>
              <a:ahLst/>
              <a:cxnLst/>
              <a:rect l="l" t="t" r="r" b="b"/>
              <a:pathLst>
                <a:path w="1278889" h="1277620">
                  <a:moveTo>
                    <a:pt x="639317" y="0"/>
                  </a:moveTo>
                  <a:lnTo>
                    <a:pt x="687027" y="1751"/>
                  </a:lnTo>
                  <a:lnTo>
                    <a:pt x="733785" y="6923"/>
                  </a:lnTo>
                  <a:lnTo>
                    <a:pt x="779468" y="15392"/>
                  </a:lnTo>
                  <a:lnTo>
                    <a:pt x="823952" y="27034"/>
                  </a:lnTo>
                  <a:lnTo>
                    <a:pt x="867112" y="41727"/>
                  </a:lnTo>
                  <a:lnTo>
                    <a:pt x="908827" y="59346"/>
                  </a:lnTo>
                  <a:lnTo>
                    <a:pt x="948971" y="79769"/>
                  </a:lnTo>
                  <a:lnTo>
                    <a:pt x="987422" y="102871"/>
                  </a:lnTo>
                  <a:lnTo>
                    <a:pt x="1024055" y="128530"/>
                  </a:lnTo>
                  <a:lnTo>
                    <a:pt x="1058747" y="156622"/>
                  </a:lnTo>
                  <a:lnTo>
                    <a:pt x="1091374" y="187023"/>
                  </a:lnTo>
                  <a:lnTo>
                    <a:pt x="1121813" y="219610"/>
                  </a:lnTo>
                  <a:lnTo>
                    <a:pt x="1149940" y="254260"/>
                  </a:lnTo>
                  <a:lnTo>
                    <a:pt x="1175631" y="290849"/>
                  </a:lnTo>
                  <a:lnTo>
                    <a:pt x="1198763" y="329253"/>
                  </a:lnTo>
                  <a:lnTo>
                    <a:pt x="1219212" y="369350"/>
                  </a:lnTo>
                  <a:lnTo>
                    <a:pt x="1236854" y="411016"/>
                  </a:lnTo>
                  <a:lnTo>
                    <a:pt x="1251565" y="454127"/>
                  </a:lnTo>
                  <a:lnTo>
                    <a:pt x="1263223" y="498560"/>
                  </a:lnTo>
                  <a:lnTo>
                    <a:pt x="1271703" y="544191"/>
                  </a:lnTo>
                  <a:lnTo>
                    <a:pt x="1276882" y="590898"/>
                  </a:lnTo>
                  <a:lnTo>
                    <a:pt x="1278636" y="638555"/>
                  </a:lnTo>
                  <a:lnTo>
                    <a:pt x="1276882" y="686213"/>
                  </a:lnTo>
                  <a:lnTo>
                    <a:pt x="1271703" y="732920"/>
                  </a:lnTo>
                  <a:lnTo>
                    <a:pt x="1263223" y="778551"/>
                  </a:lnTo>
                  <a:lnTo>
                    <a:pt x="1251565" y="822984"/>
                  </a:lnTo>
                  <a:lnTo>
                    <a:pt x="1236854" y="866095"/>
                  </a:lnTo>
                  <a:lnTo>
                    <a:pt x="1219212" y="907761"/>
                  </a:lnTo>
                  <a:lnTo>
                    <a:pt x="1198763" y="947858"/>
                  </a:lnTo>
                  <a:lnTo>
                    <a:pt x="1175631" y="986262"/>
                  </a:lnTo>
                  <a:lnTo>
                    <a:pt x="1149940" y="1022851"/>
                  </a:lnTo>
                  <a:lnTo>
                    <a:pt x="1121813" y="1057501"/>
                  </a:lnTo>
                  <a:lnTo>
                    <a:pt x="1091374" y="1090088"/>
                  </a:lnTo>
                  <a:lnTo>
                    <a:pt x="1058747" y="1120489"/>
                  </a:lnTo>
                  <a:lnTo>
                    <a:pt x="1024055" y="1148581"/>
                  </a:lnTo>
                  <a:lnTo>
                    <a:pt x="987422" y="1174240"/>
                  </a:lnTo>
                  <a:lnTo>
                    <a:pt x="948971" y="1197342"/>
                  </a:lnTo>
                  <a:lnTo>
                    <a:pt x="908827" y="1217765"/>
                  </a:lnTo>
                  <a:lnTo>
                    <a:pt x="867112" y="1235384"/>
                  </a:lnTo>
                  <a:lnTo>
                    <a:pt x="823952" y="1250077"/>
                  </a:lnTo>
                  <a:lnTo>
                    <a:pt x="779468" y="1261719"/>
                  </a:lnTo>
                  <a:lnTo>
                    <a:pt x="733785" y="1270188"/>
                  </a:lnTo>
                  <a:lnTo>
                    <a:pt x="687027" y="1275360"/>
                  </a:lnTo>
                  <a:lnTo>
                    <a:pt x="639317" y="1277112"/>
                  </a:lnTo>
                  <a:lnTo>
                    <a:pt x="591608" y="1275360"/>
                  </a:lnTo>
                  <a:lnTo>
                    <a:pt x="544850" y="1270188"/>
                  </a:lnTo>
                  <a:lnTo>
                    <a:pt x="499167" y="1261719"/>
                  </a:lnTo>
                  <a:lnTo>
                    <a:pt x="454683" y="1250077"/>
                  </a:lnTo>
                  <a:lnTo>
                    <a:pt x="411523" y="1235384"/>
                  </a:lnTo>
                  <a:lnTo>
                    <a:pt x="369808" y="1217765"/>
                  </a:lnTo>
                  <a:lnTo>
                    <a:pt x="329664" y="1197342"/>
                  </a:lnTo>
                  <a:lnTo>
                    <a:pt x="291213" y="1174240"/>
                  </a:lnTo>
                  <a:lnTo>
                    <a:pt x="254580" y="1148581"/>
                  </a:lnTo>
                  <a:lnTo>
                    <a:pt x="219888" y="1120489"/>
                  </a:lnTo>
                  <a:lnTo>
                    <a:pt x="187261" y="1090088"/>
                  </a:lnTo>
                  <a:lnTo>
                    <a:pt x="156822" y="1057501"/>
                  </a:lnTo>
                  <a:lnTo>
                    <a:pt x="128695" y="1022851"/>
                  </a:lnTo>
                  <a:lnTo>
                    <a:pt x="103004" y="986262"/>
                  </a:lnTo>
                  <a:lnTo>
                    <a:pt x="79872" y="947858"/>
                  </a:lnTo>
                  <a:lnTo>
                    <a:pt x="59423" y="907761"/>
                  </a:lnTo>
                  <a:lnTo>
                    <a:pt x="41781" y="866095"/>
                  </a:lnTo>
                  <a:lnTo>
                    <a:pt x="27070" y="822984"/>
                  </a:lnTo>
                  <a:lnTo>
                    <a:pt x="15412" y="778551"/>
                  </a:lnTo>
                  <a:lnTo>
                    <a:pt x="6932" y="732920"/>
                  </a:lnTo>
                  <a:lnTo>
                    <a:pt x="1753" y="686213"/>
                  </a:lnTo>
                  <a:lnTo>
                    <a:pt x="0" y="638555"/>
                  </a:lnTo>
                  <a:lnTo>
                    <a:pt x="2217" y="585401"/>
                  </a:lnTo>
                  <a:lnTo>
                    <a:pt x="8812" y="532886"/>
                  </a:lnTo>
                  <a:lnTo>
                    <a:pt x="19696" y="481266"/>
                  </a:lnTo>
                  <a:lnTo>
                    <a:pt x="34782" y="430799"/>
                  </a:lnTo>
                  <a:lnTo>
                    <a:pt x="53981" y="381744"/>
                  </a:lnTo>
                  <a:lnTo>
                    <a:pt x="77206" y="334357"/>
                  </a:lnTo>
                  <a:lnTo>
                    <a:pt x="104368" y="288895"/>
                  </a:lnTo>
                  <a:lnTo>
                    <a:pt x="135382" y="245617"/>
                  </a:lnTo>
                </a:path>
              </a:pathLst>
            </a:custGeom>
            <a:ln w="15240">
              <a:solidFill>
                <a:schemeClr val="tx2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71" name="object 19">
              <a:extLst>
                <a:ext uri="{FF2B5EF4-FFF2-40B4-BE49-F238E27FC236}">
                  <a16:creationId xmlns:a16="http://schemas.microsoft.com/office/drawing/2014/main" id="{FF8D2608-8DB5-41A9-AF01-45B2A07D0E21}"/>
                </a:ext>
              </a:extLst>
            </p:cNvPr>
            <p:cNvSpPr/>
            <p:nvPr/>
          </p:nvSpPr>
          <p:spPr>
            <a:xfrm>
              <a:off x="3215348" y="3293298"/>
              <a:ext cx="638674" cy="894773"/>
            </a:xfrm>
            <a:custGeom>
              <a:avLst/>
              <a:gdLst/>
              <a:ahLst/>
              <a:cxnLst/>
              <a:rect l="l" t="t" r="r" b="b"/>
              <a:pathLst>
                <a:path w="772795" h="1082675">
                  <a:moveTo>
                    <a:pt x="0" y="0"/>
                  </a:moveTo>
                  <a:lnTo>
                    <a:pt x="48863" y="1521"/>
                  </a:lnTo>
                  <a:lnTo>
                    <a:pt x="96919" y="6026"/>
                  </a:lnTo>
                  <a:lnTo>
                    <a:pt x="144077" y="13424"/>
                  </a:lnTo>
                  <a:lnTo>
                    <a:pt x="190246" y="23624"/>
                  </a:lnTo>
                  <a:lnTo>
                    <a:pt x="235337" y="36535"/>
                  </a:lnTo>
                  <a:lnTo>
                    <a:pt x="279258" y="52067"/>
                  </a:lnTo>
                  <a:lnTo>
                    <a:pt x="321919" y="70128"/>
                  </a:lnTo>
                  <a:lnTo>
                    <a:pt x="363229" y="90629"/>
                  </a:lnTo>
                  <a:lnTo>
                    <a:pt x="403098" y="113479"/>
                  </a:lnTo>
                  <a:lnTo>
                    <a:pt x="441436" y="138587"/>
                  </a:lnTo>
                  <a:lnTo>
                    <a:pt x="478151" y="165862"/>
                  </a:lnTo>
                  <a:lnTo>
                    <a:pt x="513154" y="195214"/>
                  </a:lnTo>
                  <a:lnTo>
                    <a:pt x="546354" y="226552"/>
                  </a:lnTo>
                  <a:lnTo>
                    <a:pt x="577659" y="259785"/>
                  </a:lnTo>
                  <a:lnTo>
                    <a:pt x="606981" y="294823"/>
                  </a:lnTo>
                  <a:lnTo>
                    <a:pt x="634228" y="331575"/>
                  </a:lnTo>
                  <a:lnTo>
                    <a:pt x="659309" y="369951"/>
                  </a:lnTo>
                  <a:lnTo>
                    <a:pt x="682135" y="409859"/>
                  </a:lnTo>
                  <a:lnTo>
                    <a:pt x="702614" y="451210"/>
                  </a:lnTo>
                  <a:lnTo>
                    <a:pt x="720657" y="493912"/>
                  </a:lnTo>
                  <a:lnTo>
                    <a:pt x="736172" y="537875"/>
                  </a:lnTo>
                  <a:lnTo>
                    <a:pt x="749069" y="583008"/>
                  </a:lnTo>
                  <a:lnTo>
                    <a:pt x="759257" y="629221"/>
                  </a:lnTo>
                  <a:lnTo>
                    <a:pt x="766647" y="676422"/>
                  </a:lnTo>
                  <a:lnTo>
                    <a:pt x="771147" y="724522"/>
                  </a:lnTo>
                  <a:lnTo>
                    <a:pt x="772668" y="773430"/>
                  </a:lnTo>
                  <a:lnTo>
                    <a:pt x="770853" y="826453"/>
                  </a:lnTo>
                  <a:lnTo>
                    <a:pt x="765433" y="879103"/>
                  </a:lnTo>
                  <a:lnTo>
                    <a:pt x="756443" y="931195"/>
                  </a:lnTo>
                  <a:lnTo>
                    <a:pt x="743918" y="982547"/>
                  </a:lnTo>
                  <a:lnTo>
                    <a:pt x="727894" y="1032974"/>
                  </a:lnTo>
                  <a:lnTo>
                    <a:pt x="708406" y="1082294"/>
                  </a:lnTo>
                </a:path>
              </a:pathLst>
            </a:custGeom>
            <a:ln w="15240">
              <a:solidFill>
                <a:schemeClr val="tx2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72" name="object 40">
              <a:extLst>
                <a:ext uri="{FF2B5EF4-FFF2-40B4-BE49-F238E27FC236}">
                  <a16:creationId xmlns:a16="http://schemas.microsoft.com/office/drawing/2014/main" id="{B1826CC3-E8D5-4E38-BB66-356ED741FA26}"/>
                </a:ext>
              </a:extLst>
            </p:cNvPr>
            <p:cNvSpPr/>
            <p:nvPr/>
          </p:nvSpPr>
          <p:spPr>
            <a:xfrm>
              <a:off x="2748701" y="3466480"/>
              <a:ext cx="934657" cy="934657"/>
            </a:xfrm>
            <a:custGeom>
              <a:avLst/>
              <a:gdLst/>
              <a:ahLst/>
              <a:cxnLst/>
              <a:rect l="l" t="t" r="r" b="b"/>
              <a:pathLst>
                <a:path w="1130935" h="1130935">
                  <a:moveTo>
                    <a:pt x="565403" y="0"/>
                  </a:moveTo>
                  <a:lnTo>
                    <a:pt x="516614" y="2075"/>
                  </a:lnTo>
                  <a:lnTo>
                    <a:pt x="468978" y="8187"/>
                  </a:lnTo>
                  <a:lnTo>
                    <a:pt x="422665" y="18167"/>
                  </a:lnTo>
                  <a:lnTo>
                    <a:pt x="377844" y="31845"/>
                  </a:lnTo>
                  <a:lnTo>
                    <a:pt x="334686" y="49051"/>
                  </a:lnTo>
                  <a:lnTo>
                    <a:pt x="293360" y="69615"/>
                  </a:lnTo>
                  <a:lnTo>
                    <a:pt x="254034" y="93369"/>
                  </a:lnTo>
                  <a:lnTo>
                    <a:pt x="216881" y="120142"/>
                  </a:lnTo>
                  <a:lnTo>
                    <a:pt x="182067" y="149765"/>
                  </a:lnTo>
                  <a:lnTo>
                    <a:pt x="149765" y="182067"/>
                  </a:lnTo>
                  <a:lnTo>
                    <a:pt x="120142" y="216881"/>
                  </a:lnTo>
                  <a:lnTo>
                    <a:pt x="93369" y="254034"/>
                  </a:lnTo>
                  <a:lnTo>
                    <a:pt x="69615" y="293360"/>
                  </a:lnTo>
                  <a:lnTo>
                    <a:pt x="49051" y="334686"/>
                  </a:lnTo>
                  <a:lnTo>
                    <a:pt x="31845" y="377844"/>
                  </a:lnTo>
                  <a:lnTo>
                    <a:pt x="18167" y="422665"/>
                  </a:lnTo>
                  <a:lnTo>
                    <a:pt x="8187" y="468978"/>
                  </a:lnTo>
                  <a:lnTo>
                    <a:pt x="2075" y="516614"/>
                  </a:lnTo>
                  <a:lnTo>
                    <a:pt x="0" y="565404"/>
                  </a:lnTo>
                  <a:lnTo>
                    <a:pt x="2075" y="614193"/>
                  </a:lnTo>
                  <a:lnTo>
                    <a:pt x="8187" y="661829"/>
                  </a:lnTo>
                  <a:lnTo>
                    <a:pt x="18167" y="708142"/>
                  </a:lnTo>
                  <a:lnTo>
                    <a:pt x="31845" y="752963"/>
                  </a:lnTo>
                  <a:lnTo>
                    <a:pt x="49051" y="796121"/>
                  </a:lnTo>
                  <a:lnTo>
                    <a:pt x="69615" y="837447"/>
                  </a:lnTo>
                  <a:lnTo>
                    <a:pt x="93369" y="876773"/>
                  </a:lnTo>
                  <a:lnTo>
                    <a:pt x="120142" y="913926"/>
                  </a:lnTo>
                  <a:lnTo>
                    <a:pt x="149765" y="948740"/>
                  </a:lnTo>
                  <a:lnTo>
                    <a:pt x="182067" y="981042"/>
                  </a:lnTo>
                  <a:lnTo>
                    <a:pt x="216881" y="1010665"/>
                  </a:lnTo>
                  <a:lnTo>
                    <a:pt x="254034" y="1037438"/>
                  </a:lnTo>
                  <a:lnTo>
                    <a:pt x="293360" y="1061192"/>
                  </a:lnTo>
                  <a:lnTo>
                    <a:pt x="334686" y="1081756"/>
                  </a:lnTo>
                  <a:lnTo>
                    <a:pt x="377844" y="1098962"/>
                  </a:lnTo>
                  <a:lnTo>
                    <a:pt x="422665" y="1112640"/>
                  </a:lnTo>
                  <a:lnTo>
                    <a:pt x="468978" y="1122620"/>
                  </a:lnTo>
                  <a:lnTo>
                    <a:pt x="516614" y="1128732"/>
                  </a:lnTo>
                  <a:lnTo>
                    <a:pt x="565403" y="1130808"/>
                  </a:lnTo>
                  <a:lnTo>
                    <a:pt x="614193" y="1128732"/>
                  </a:lnTo>
                  <a:lnTo>
                    <a:pt x="661829" y="1122620"/>
                  </a:lnTo>
                  <a:lnTo>
                    <a:pt x="708142" y="1112640"/>
                  </a:lnTo>
                  <a:lnTo>
                    <a:pt x="752963" y="1098962"/>
                  </a:lnTo>
                  <a:lnTo>
                    <a:pt x="796121" y="1081756"/>
                  </a:lnTo>
                  <a:lnTo>
                    <a:pt x="837447" y="1061192"/>
                  </a:lnTo>
                  <a:lnTo>
                    <a:pt x="876773" y="1037438"/>
                  </a:lnTo>
                  <a:lnTo>
                    <a:pt x="913926" y="1010665"/>
                  </a:lnTo>
                  <a:lnTo>
                    <a:pt x="948740" y="981042"/>
                  </a:lnTo>
                  <a:lnTo>
                    <a:pt x="981042" y="948740"/>
                  </a:lnTo>
                  <a:lnTo>
                    <a:pt x="1010665" y="913926"/>
                  </a:lnTo>
                  <a:lnTo>
                    <a:pt x="1037438" y="876773"/>
                  </a:lnTo>
                  <a:lnTo>
                    <a:pt x="1061192" y="837447"/>
                  </a:lnTo>
                  <a:lnTo>
                    <a:pt x="1081756" y="796121"/>
                  </a:lnTo>
                  <a:lnTo>
                    <a:pt x="1098962" y="752963"/>
                  </a:lnTo>
                  <a:lnTo>
                    <a:pt x="1112640" y="708142"/>
                  </a:lnTo>
                  <a:lnTo>
                    <a:pt x="1122620" y="661829"/>
                  </a:lnTo>
                  <a:lnTo>
                    <a:pt x="1128732" y="614193"/>
                  </a:lnTo>
                  <a:lnTo>
                    <a:pt x="1130807" y="565404"/>
                  </a:lnTo>
                  <a:lnTo>
                    <a:pt x="1128732" y="516614"/>
                  </a:lnTo>
                  <a:lnTo>
                    <a:pt x="1122620" y="468978"/>
                  </a:lnTo>
                  <a:lnTo>
                    <a:pt x="1112640" y="422665"/>
                  </a:lnTo>
                  <a:lnTo>
                    <a:pt x="1098962" y="377844"/>
                  </a:lnTo>
                  <a:lnTo>
                    <a:pt x="1081756" y="334686"/>
                  </a:lnTo>
                  <a:lnTo>
                    <a:pt x="1061192" y="293360"/>
                  </a:lnTo>
                  <a:lnTo>
                    <a:pt x="1037438" y="254034"/>
                  </a:lnTo>
                  <a:lnTo>
                    <a:pt x="1010665" y="216881"/>
                  </a:lnTo>
                  <a:lnTo>
                    <a:pt x="981042" y="182067"/>
                  </a:lnTo>
                  <a:lnTo>
                    <a:pt x="948740" y="149765"/>
                  </a:lnTo>
                  <a:lnTo>
                    <a:pt x="913926" y="120142"/>
                  </a:lnTo>
                  <a:lnTo>
                    <a:pt x="876773" y="93369"/>
                  </a:lnTo>
                  <a:lnTo>
                    <a:pt x="837447" y="69615"/>
                  </a:lnTo>
                  <a:lnTo>
                    <a:pt x="796121" y="49051"/>
                  </a:lnTo>
                  <a:lnTo>
                    <a:pt x="752963" y="31845"/>
                  </a:lnTo>
                  <a:lnTo>
                    <a:pt x="708142" y="18167"/>
                  </a:lnTo>
                  <a:lnTo>
                    <a:pt x="661829" y="8187"/>
                  </a:lnTo>
                  <a:lnTo>
                    <a:pt x="614193" y="2075"/>
                  </a:lnTo>
                  <a:lnTo>
                    <a:pt x="565403" y="0"/>
                  </a:lnTo>
                  <a:close/>
                </a:path>
              </a:pathLst>
            </a:custGeom>
            <a:solidFill>
              <a:srgbClr val="FFFFFF"/>
            </a:solidFill>
            <a:ln>
              <a:solidFill>
                <a:schemeClr val="bg2">
                  <a:lumMod val="75000"/>
                </a:schemeClr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73" name="object 41">
              <a:extLst>
                <a:ext uri="{FF2B5EF4-FFF2-40B4-BE49-F238E27FC236}">
                  <a16:creationId xmlns:a16="http://schemas.microsoft.com/office/drawing/2014/main" id="{B4075393-C164-4127-A724-6ADAB2E609A5}"/>
                </a:ext>
              </a:extLst>
            </p:cNvPr>
            <p:cNvSpPr/>
            <p:nvPr/>
          </p:nvSpPr>
          <p:spPr>
            <a:xfrm>
              <a:off x="2748701" y="3466480"/>
              <a:ext cx="934657" cy="934657"/>
            </a:xfrm>
            <a:custGeom>
              <a:avLst/>
              <a:gdLst/>
              <a:ahLst/>
              <a:cxnLst/>
              <a:rect l="l" t="t" r="r" b="b"/>
              <a:pathLst>
                <a:path w="1130935" h="1130935">
                  <a:moveTo>
                    <a:pt x="0" y="565404"/>
                  </a:moveTo>
                  <a:lnTo>
                    <a:pt x="2075" y="516614"/>
                  </a:lnTo>
                  <a:lnTo>
                    <a:pt x="8187" y="468978"/>
                  </a:lnTo>
                  <a:lnTo>
                    <a:pt x="18167" y="422665"/>
                  </a:lnTo>
                  <a:lnTo>
                    <a:pt x="31845" y="377844"/>
                  </a:lnTo>
                  <a:lnTo>
                    <a:pt x="49051" y="334686"/>
                  </a:lnTo>
                  <a:lnTo>
                    <a:pt x="69615" y="293360"/>
                  </a:lnTo>
                  <a:lnTo>
                    <a:pt x="93369" y="254034"/>
                  </a:lnTo>
                  <a:lnTo>
                    <a:pt x="120142" y="216881"/>
                  </a:lnTo>
                  <a:lnTo>
                    <a:pt x="149765" y="182067"/>
                  </a:lnTo>
                  <a:lnTo>
                    <a:pt x="182067" y="149765"/>
                  </a:lnTo>
                  <a:lnTo>
                    <a:pt x="216881" y="120142"/>
                  </a:lnTo>
                  <a:lnTo>
                    <a:pt x="254034" y="93369"/>
                  </a:lnTo>
                  <a:lnTo>
                    <a:pt x="293360" y="69615"/>
                  </a:lnTo>
                  <a:lnTo>
                    <a:pt x="334686" y="49051"/>
                  </a:lnTo>
                  <a:lnTo>
                    <a:pt x="377844" y="31845"/>
                  </a:lnTo>
                  <a:lnTo>
                    <a:pt x="422665" y="18167"/>
                  </a:lnTo>
                  <a:lnTo>
                    <a:pt x="468978" y="8187"/>
                  </a:lnTo>
                  <a:lnTo>
                    <a:pt x="516614" y="2075"/>
                  </a:lnTo>
                  <a:lnTo>
                    <a:pt x="565403" y="0"/>
                  </a:lnTo>
                  <a:lnTo>
                    <a:pt x="614193" y="2075"/>
                  </a:lnTo>
                  <a:lnTo>
                    <a:pt x="661829" y="8187"/>
                  </a:lnTo>
                  <a:lnTo>
                    <a:pt x="708142" y="18167"/>
                  </a:lnTo>
                  <a:lnTo>
                    <a:pt x="752963" y="31845"/>
                  </a:lnTo>
                  <a:lnTo>
                    <a:pt x="796121" y="49051"/>
                  </a:lnTo>
                  <a:lnTo>
                    <a:pt x="837447" y="69615"/>
                  </a:lnTo>
                  <a:lnTo>
                    <a:pt x="876773" y="93369"/>
                  </a:lnTo>
                  <a:lnTo>
                    <a:pt x="913926" y="120142"/>
                  </a:lnTo>
                  <a:lnTo>
                    <a:pt x="948740" y="149765"/>
                  </a:lnTo>
                  <a:lnTo>
                    <a:pt x="981042" y="182067"/>
                  </a:lnTo>
                  <a:lnTo>
                    <a:pt x="1010665" y="216881"/>
                  </a:lnTo>
                  <a:lnTo>
                    <a:pt x="1037438" y="254034"/>
                  </a:lnTo>
                  <a:lnTo>
                    <a:pt x="1061192" y="293360"/>
                  </a:lnTo>
                  <a:lnTo>
                    <a:pt x="1081756" y="334686"/>
                  </a:lnTo>
                  <a:lnTo>
                    <a:pt x="1098962" y="377844"/>
                  </a:lnTo>
                  <a:lnTo>
                    <a:pt x="1112640" y="422665"/>
                  </a:lnTo>
                  <a:lnTo>
                    <a:pt x="1122620" y="468978"/>
                  </a:lnTo>
                  <a:lnTo>
                    <a:pt x="1128732" y="516614"/>
                  </a:lnTo>
                  <a:lnTo>
                    <a:pt x="1130807" y="565404"/>
                  </a:lnTo>
                  <a:lnTo>
                    <a:pt x="1128732" y="614193"/>
                  </a:lnTo>
                  <a:lnTo>
                    <a:pt x="1122620" y="661829"/>
                  </a:lnTo>
                  <a:lnTo>
                    <a:pt x="1112640" y="708142"/>
                  </a:lnTo>
                  <a:lnTo>
                    <a:pt x="1098962" y="752963"/>
                  </a:lnTo>
                  <a:lnTo>
                    <a:pt x="1081756" y="796121"/>
                  </a:lnTo>
                  <a:lnTo>
                    <a:pt x="1061192" y="837447"/>
                  </a:lnTo>
                  <a:lnTo>
                    <a:pt x="1037438" y="876773"/>
                  </a:lnTo>
                  <a:lnTo>
                    <a:pt x="1010665" y="913926"/>
                  </a:lnTo>
                  <a:lnTo>
                    <a:pt x="981042" y="948740"/>
                  </a:lnTo>
                  <a:lnTo>
                    <a:pt x="948740" y="981042"/>
                  </a:lnTo>
                  <a:lnTo>
                    <a:pt x="913926" y="1010665"/>
                  </a:lnTo>
                  <a:lnTo>
                    <a:pt x="876773" y="1037438"/>
                  </a:lnTo>
                  <a:lnTo>
                    <a:pt x="837447" y="1061192"/>
                  </a:lnTo>
                  <a:lnTo>
                    <a:pt x="796121" y="1081756"/>
                  </a:lnTo>
                  <a:lnTo>
                    <a:pt x="752963" y="1098962"/>
                  </a:lnTo>
                  <a:lnTo>
                    <a:pt x="708142" y="1112640"/>
                  </a:lnTo>
                  <a:lnTo>
                    <a:pt x="661829" y="1122620"/>
                  </a:lnTo>
                  <a:lnTo>
                    <a:pt x="614193" y="1128732"/>
                  </a:lnTo>
                  <a:lnTo>
                    <a:pt x="565403" y="1130808"/>
                  </a:lnTo>
                  <a:lnTo>
                    <a:pt x="516614" y="1128732"/>
                  </a:lnTo>
                  <a:lnTo>
                    <a:pt x="468978" y="1122620"/>
                  </a:lnTo>
                  <a:lnTo>
                    <a:pt x="422665" y="1112640"/>
                  </a:lnTo>
                  <a:lnTo>
                    <a:pt x="377844" y="1098962"/>
                  </a:lnTo>
                  <a:lnTo>
                    <a:pt x="334686" y="1081756"/>
                  </a:lnTo>
                  <a:lnTo>
                    <a:pt x="293360" y="1061192"/>
                  </a:lnTo>
                  <a:lnTo>
                    <a:pt x="254034" y="1037438"/>
                  </a:lnTo>
                  <a:lnTo>
                    <a:pt x="216881" y="1010665"/>
                  </a:lnTo>
                  <a:lnTo>
                    <a:pt x="182067" y="981042"/>
                  </a:lnTo>
                  <a:lnTo>
                    <a:pt x="149765" y="948740"/>
                  </a:lnTo>
                  <a:lnTo>
                    <a:pt x="120142" y="913926"/>
                  </a:lnTo>
                  <a:lnTo>
                    <a:pt x="93369" y="876773"/>
                  </a:lnTo>
                  <a:lnTo>
                    <a:pt x="69615" y="837447"/>
                  </a:lnTo>
                  <a:lnTo>
                    <a:pt x="49051" y="796121"/>
                  </a:lnTo>
                  <a:lnTo>
                    <a:pt x="31845" y="752963"/>
                  </a:lnTo>
                  <a:lnTo>
                    <a:pt x="18167" y="708142"/>
                  </a:lnTo>
                  <a:lnTo>
                    <a:pt x="8187" y="661829"/>
                  </a:lnTo>
                  <a:lnTo>
                    <a:pt x="2075" y="614193"/>
                  </a:lnTo>
                  <a:lnTo>
                    <a:pt x="0" y="565404"/>
                  </a:lnTo>
                  <a:close/>
                </a:path>
              </a:pathLst>
            </a:custGeom>
            <a:ln w="15240">
              <a:solidFill>
                <a:schemeClr val="tx2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pic>
          <p:nvPicPr>
            <p:cNvPr id="74" name="Picture 73">
              <a:extLst>
                <a:ext uri="{FF2B5EF4-FFF2-40B4-BE49-F238E27FC236}">
                  <a16:creationId xmlns:a16="http://schemas.microsoft.com/office/drawing/2014/main" id="{77272E1A-9BCC-42DF-A1A0-AE06C7BF713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27336" y="3805834"/>
              <a:ext cx="267640" cy="364455"/>
            </a:xfrm>
            <a:prstGeom prst="rect">
              <a:avLst/>
            </a:prstGeom>
            <a:ln w="15240">
              <a:noFill/>
            </a:ln>
          </p:spPr>
        </p:pic>
        <p:sp>
          <p:nvSpPr>
            <p:cNvPr id="75" name="object 69">
              <a:extLst>
                <a:ext uri="{FF2B5EF4-FFF2-40B4-BE49-F238E27FC236}">
                  <a16:creationId xmlns:a16="http://schemas.microsoft.com/office/drawing/2014/main" id="{56205A8D-2B1C-4721-BF99-85C7A8729A0F}"/>
                </a:ext>
              </a:extLst>
            </p:cNvPr>
            <p:cNvSpPr/>
            <p:nvPr/>
          </p:nvSpPr>
          <p:spPr>
            <a:xfrm flipH="1">
              <a:off x="2801769" y="3792554"/>
              <a:ext cx="581679" cy="416122"/>
            </a:xfrm>
            <a:prstGeom prst="rect">
              <a:avLst/>
            </a:prstGeom>
            <a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a:blipFill>
            <a:ln>
              <a:noFill/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D6A842D4-376B-48F6-85F5-ED5151A89761}"/>
                </a:ext>
              </a:extLst>
            </p:cNvPr>
            <p:cNvSpPr txBox="1"/>
            <p:nvPr/>
          </p:nvSpPr>
          <p:spPr>
            <a:xfrm>
              <a:off x="2761036" y="3581025"/>
              <a:ext cx="1282148" cy="22644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 err="1">
                  <a:ln>
                    <a:noFill/>
                  </a:ln>
                  <a:solidFill>
                    <a:srgbClr val="0D347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Fagrekvirent</a:t>
              </a:r>
              <a:endPara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0D347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28" name="object 8">
            <a:extLst>
              <a:ext uri="{FF2B5EF4-FFF2-40B4-BE49-F238E27FC236}">
                <a16:creationId xmlns:a16="http://schemas.microsoft.com/office/drawing/2014/main" id="{1D02E8AB-996E-47F7-AAFD-15799EC911AB}"/>
              </a:ext>
            </a:extLst>
          </p:cNvPr>
          <p:cNvSpPr/>
          <p:nvPr/>
        </p:nvSpPr>
        <p:spPr>
          <a:xfrm>
            <a:off x="418557" y="2236614"/>
            <a:ext cx="189709" cy="538893"/>
          </a:xfrm>
          <a:prstGeom prst="rect">
            <a:avLst/>
          </a:prstGeom>
          <a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29" name="object 52">
            <a:extLst>
              <a:ext uri="{FF2B5EF4-FFF2-40B4-BE49-F238E27FC236}">
                <a16:creationId xmlns:a16="http://schemas.microsoft.com/office/drawing/2014/main" id="{4037DC2D-0845-48E7-AB4D-25602FBF0A97}"/>
              </a:ext>
            </a:extLst>
          </p:cNvPr>
          <p:cNvSpPr txBox="1"/>
          <p:nvPr/>
        </p:nvSpPr>
        <p:spPr>
          <a:xfrm>
            <a:off x="1406583" y="1772854"/>
            <a:ext cx="1394428" cy="42768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 lvl="0" indent="0" algn="ctr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-5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Sendes</a:t>
            </a:r>
            <a:r>
              <a:rPr kumimoji="0" lang="en-US" sz="900" b="0" i="0" u="none" strike="noStrike" kern="1200" cap="none" spc="-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 </a:t>
            </a:r>
            <a:r>
              <a:rPr kumimoji="0" lang="en-US" sz="900" b="0" i="0" u="none" strike="noStrike" kern="1200" cap="none" spc="-5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til</a:t>
            </a:r>
            <a:r>
              <a:rPr kumimoji="0" lang="en-US" sz="900" b="0" i="0" u="none" strike="noStrike" kern="1200" cap="none" spc="-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 </a:t>
            </a:r>
            <a:r>
              <a:rPr kumimoji="0" lang="en-US" sz="900" b="0" i="0" u="none" strike="noStrike" kern="1200" cap="none" spc="-5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Innkjøpergruppe</a:t>
            </a:r>
            <a:r>
              <a:rPr kumimoji="0" lang="en-US" sz="900" b="0" i="0" u="none" strike="noStrike" kern="1200" cap="none" spc="-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 (</a:t>
            </a:r>
            <a:r>
              <a:rPr kumimoji="0" lang="en-US" sz="900" b="0" i="0" u="none" strike="noStrike" kern="1200" cap="none" spc="-5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definert</a:t>
            </a:r>
            <a:r>
              <a:rPr kumimoji="0" lang="en-US" sz="900" b="0" i="0" u="none" strike="noStrike" kern="1200" cap="none" spc="-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 av </a:t>
            </a:r>
            <a:r>
              <a:rPr kumimoji="0" lang="en-US" sz="900" b="0" i="0" u="none" strike="noStrike" kern="1200" cap="none" spc="-5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koststed</a:t>
            </a:r>
            <a:r>
              <a:rPr kumimoji="0" lang="en-US" sz="900" b="0" i="0" u="none" strike="noStrike" kern="1200" cap="none" spc="-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)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69604043-73C5-45EE-ADDB-8DED7DD8813A}"/>
              </a:ext>
            </a:extLst>
          </p:cNvPr>
          <p:cNvGrpSpPr/>
          <p:nvPr/>
        </p:nvGrpSpPr>
        <p:grpSpPr>
          <a:xfrm>
            <a:off x="2862225" y="1255104"/>
            <a:ext cx="1350024" cy="1429828"/>
            <a:chOff x="4471223" y="2681586"/>
            <a:chExt cx="1500876" cy="1569373"/>
          </a:xfrm>
        </p:grpSpPr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3F9FA64F-5117-4943-AF6A-558E5945E856}"/>
                </a:ext>
              </a:extLst>
            </p:cNvPr>
            <p:cNvGrpSpPr/>
            <p:nvPr/>
          </p:nvGrpSpPr>
          <p:grpSpPr>
            <a:xfrm>
              <a:off x="4471223" y="2681586"/>
              <a:ext cx="1429599" cy="1569373"/>
              <a:chOff x="2320780" y="1682998"/>
              <a:chExt cx="1429599" cy="1569373"/>
            </a:xfrm>
          </p:grpSpPr>
          <p:grpSp>
            <p:nvGrpSpPr>
              <p:cNvPr id="61" name="Group 60">
                <a:extLst>
                  <a:ext uri="{FF2B5EF4-FFF2-40B4-BE49-F238E27FC236}">
                    <a16:creationId xmlns:a16="http://schemas.microsoft.com/office/drawing/2014/main" id="{C7B9BCDD-65E6-4075-811D-B516460059F0}"/>
                  </a:ext>
                </a:extLst>
              </p:cNvPr>
              <p:cNvGrpSpPr/>
              <p:nvPr/>
            </p:nvGrpSpPr>
            <p:grpSpPr>
              <a:xfrm>
                <a:off x="2320780" y="1682998"/>
                <a:ext cx="1171444" cy="1224343"/>
                <a:chOff x="3467100" y="1822704"/>
                <a:chExt cx="1417447" cy="1481455"/>
              </a:xfrm>
            </p:grpSpPr>
            <p:sp>
              <p:nvSpPr>
                <p:cNvPr id="64" name="object 17">
                  <a:extLst>
                    <a:ext uri="{FF2B5EF4-FFF2-40B4-BE49-F238E27FC236}">
                      <a16:creationId xmlns:a16="http://schemas.microsoft.com/office/drawing/2014/main" id="{2E36AB02-E7BB-4AFF-B5FA-42229FF9ED11}"/>
                    </a:ext>
                  </a:extLst>
                </p:cNvPr>
                <p:cNvSpPr/>
                <p:nvPr/>
              </p:nvSpPr>
              <p:spPr>
                <a:xfrm>
                  <a:off x="3550284" y="1898904"/>
                  <a:ext cx="1259840" cy="140525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59839" h="1405254">
                      <a:moveTo>
                        <a:pt x="556132" y="0"/>
                      </a:moveTo>
                      <a:lnTo>
                        <a:pt x="604293" y="1620"/>
                      </a:lnTo>
                      <a:lnTo>
                        <a:pt x="651582" y="6414"/>
                      </a:lnTo>
                      <a:lnTo>
                        <a:pt x="697894" y="14274"/>
                      </a:lnTo>
                      <a:lnTo>
                        <a:pt x="743124" y="25098"/>
                      </a:lnTo>
                      <a:lnTo>
                        <a:pt x="787169" y="38780"/>
                      </a:lnTo>
                      <a:lnTo>
                        <a:pt x="829923" y="55215"/>
                      </a:lnTo>
                      <a:lnTo>
                        <a:pt x="871281" y="74299"/>
                      </a:lnTo>
                      <a:lnTo>
                        <a:pt x="911140" y="95927"/>
                      </a:lnTo>
                      <a:lnTo>
                        <a:pt x="949394" y="119994"/>
                      </a:lnTo>
                      <a:lnTo>
                        <a:pt x="985938" y="146397"/>
                      </a:lnTo>
                      <a:lnTo>
                        <a:pt x="1020669" y="175029"/>
                      </a:lnTo>
                      <a:lnTo>
                        <a:pt x="1053480" y="205787"/>
                      </a:lnTo>
                      <a:lnTo>
                        <a:pt x="1084269" y="238566"/>
                      </a:lnTo>
                      <a:lnTo>
                        <a:pt x="1112929" y="273261"/>
                      </a:lnTo>
                      <a:lnTo>
                        <a:pt x="1139356" y="309767"/>
                      </a:lnTo>
                      <a:lnTo>
                        <a:pt x="1163447" y="347980"/>
                      </a:lnTo>
                      <a:lnTo>
                        <a:pt x="1185094" y="387794"/>
                      </a:lnTo>
                      <a:lnTo>
                        <a:pt x="1204196" y="429107"/>
                      </a:lnTo>
                      <a:lnTo>
                        <a:pt x="1220645" y="471812"/>
                      </a:lnTo>
                      <a:lnTo>
                        <a:pt x="1234339" y="515805"/>
                      </a:lnTo>
                      <a:lnTo>
                        <a:pt x="1245172" y="560981"/>
                      </a:lnTo>
                      <a:lnTo>
                        <a:pt x="1253039" y="607236"/>
                      </a:lnTo>
                      <a:lnTo>
                        <a:pt x="1257836" y="654465"/>
                      </a:lnTo>
                      <a:lnTo>
                        <a:pt x="1259459" y="702563"/>
                      </a:lnTo>
                      <a:lnTo>
                        <a:pt x="1257836" y="750662"/>
                      </a:lnTo>
                      <a:lnTo>
                        <a:pt x="1253039" y="797891"/>
                      </a:lnTo>
                      <a:lnTo>
                        <a:pt x="1245172" y="844146"/>
                      </a:lnTo>
                      <a:lnTo>
                        <a:pt x="1234339" y="889322"/>
                      </a:lnTo>
                      <a:lnTo>
                        <a:pt x="1220645" y="933315"/>
                      </a:lnTo>
                      <a:lnTo>
                        <a:pt x="1204196" y="976020"/>
                      </a:lnTo>
                      <a:lnTo>
                        <a:pt x="1185094" y="1017333"/>
                      </a:lnTo>
                      <a:lnTo>
                        <a:pt x="1163447" y="1057147"/>
                      </a:lnTo>
                      <a:lnTo>
                        <a:pt x="1139356" y="1095360"/>
                      </a:lnTo>
                      <a:lnTo>
                        <a:pt x="1112929" y="1131866"/>
                      </a:lnTo>
                      <a:lnTo>
                        <a:pt x="1084269" y="1166561"/>
                      </a:lnTo>
                      <a:lnTo>
                        <a:pt x="1053480" y="1199340"/>
                      </a:lnTo>
                      <a:lnTo>
                        <a:pt x="1020669" y="1230098"/>
                      </a:lnTo>
                      <a:lnTo>
                        <a:pt x="985938" y="1258730"/>
                      </a:lnTo>
                      <a:lnTo>
                        <a:pt x="949394" y="1285133"/>
                      </a:lnTo>
                      <a:lnTo>
                        <a:pt x="911140" y="1309200"/>
                      </a:lnTo>
                      <a:lnTo>
                        <a:pt x="871281" y="1330828"/>
                      </a:lnTo>
                      <a:lnTo>
                        <a:pt x="829923" y="1349912"/>
                      </a:lnTo>
                      <a:lnTo>
                        <a:pt x="787169" y="1366347"/>
                      </a:lnTo>
                      <a:lnTo>
                        <a:pt x="743124" y="1380029"/>
                      </a:lnTo>
                      <a:lnTo>
                        <a:pt x="697894" y="1390853"/>
                      </a:lnTo>
                      <a:lnTo>
                        <a:pt x="651582" y="1398713"/>
                      </a:lnTo>
                      <a:lnTo>
                        <a:pt x="604293" y="1403507"/>
                      </a:lnTo>
                      <a:lnTo>
                        <a:pt x="556132" y="1405128"/>
                      </a:lnTo>
                      <a:lnTo>
                        <a:pt x="506172" y="1403355"/>
                      </a:lnTo>
                      <a:lnTo>
                        <a:pt x="456808" y="1398092"/>
                      </a:lnTo>
                      <a:lnTo>
                        <a:pt x="408205" y="1389418"/>
                      </a:lnTo>
                      <a:lnTo>
                        <a:pt x="360525" y="1377414"/>
                      </a:lnTo>
                      <a:lnTo>
                        <a:pt x="313933" y="1362159"/>
                      </a:lnTo>
                      <a:lnTo>
                        <a:pt x="268593" y="1343733"/>
                      </a:lnTo>
                      <a:lnTo>
                        <a:pt x="224667" y="1322217"/>
                      </a:lnTo>
                      <a:lnTo>
                        <a:pt x="182321" y="1297691"/>
                      </a:lnTo>
                      <a:lnTo>
                        <a:pt x="141717" y="1270235"/>
                      </a:lnTo>
                      <a:lnTo>
                        <a:pt x="103019" y="1239929"/>
                      </a:lnTo>
                      <a:lnTo>
                        <a:pt x="66391" y="1206853"/>
                      </a:lnTo>
                      <a:lnTo>
                        <a:pt x="31997" y="1171088"/>
                      </a:lnTo>
                      <a:lnTo>
                        <a:pt x="0" y="1132713"/>
                      </a:lnTo>
                    </a:path>
                  </a:pathLst>
                </a:custGeom>
                <a:ln w="15240">
                  <a:solidFill>
                    <a:srgbClr val="A6A6A6"/>
                  </a:solidFill>
                </a:ln>
              </p:spPr>
              <p:txBody>
                <a:bodyPr wrap="square" lIns="0" tIns="0" rIns="0" bIns="0" rtlCol="0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900" b="0" i="0" u="none" strike="noStrike" kern="0" cap="none" spc="0" normalizeH="0" baseline="0" noProof="0">
                    <a:ln>
                      <a:noFill/>
                    </a:ln>
                    <a:solidFill>
                      <a:srgbClr val="5C5C5C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65" name="object 18">
                  <a:extLst>
                    <a:ext uri="{FF2B5EF4-FFF2-40B4-BE49-F238E27FC236}">
                      <a16:creationId xmlns:a16="http://schemas.microsoft.com/office/drawing/2014/main" id="{72347FB7-5C39-4B33-9A90-2E094F90D361}"/>
                    </a:ext>
                  </a:extLst>
                </p:cNvPr>
                <p:cNvSpPr/>
                <p:nvPr/>
              </p:nvSpPr>
              <p:spPr>
                <a:xfrm>
                  <a:off x="3467100" y="1962911"/>
                  <a:ext cx="1278890" cy="12776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78889" h="1277620">
                      <a:moveTo>
                        <a:pt x="639317" y="0"/>
                      </a:moveTo>
                      <a:lnTo>
                        <a:pt x="687027" y="1751"/>
                      </a:lnTo>
                      <a:lnTo>
                        <a:pt x="733785" y="6923"/>
                      </a:lnTo>
                      <a:lnTo>
                        <a:pt x="779468" y="15392"/>
                      </a:lnTo>
                      <a:lnTo>
                        <a:pt x="823952" y="27034"/>
                      </a:lnTo>
                      <a:lnTo>
                        <a:pt x="867112" y="41727"/>
                      </a:lnTo>
                      <a:lnTo>
                        <a:pt x="908827" y="59346"/>
                      </a:lnTo>
                      <a:lnTo>
                        <a:pt x="948971" y="79769"/>
                      </a:lnTo>
                      <a:lnTo>
                        <a:pt x="987422" y="102871"/>
                      </a:lnTo>
                      <a:lnTo>
                        <a:pt x="1024055" y="128530"/>
                      </a:lnTo>
                      <a:lnTo>
                        <a:pt x="1058747" y="156622"/>
                      </a:lnTo>
                      <a:lnTo>
                        <a:pt x="1091374" y="187023"/>
                      </a:lnTo>
                      <a:lnTo>
                        <a:pt x="1121813" y="219610"/>
                      </a:lnTo>
                      <a:lnTo>
                        <a:pt x="1149940" y="254260"/>
                      </a:lnTo>
                      <a:lnTo>
                        <a:pt x="1175631" y="290849"/>
                      </a:lnTo>
                      <a:lnTo>
                        <a:pt x="1198763" y="329253"/>
                      </a:lnTo>
                      <a:lnTo>
                        <a:pt x="1219212" y="369350"/>
                      </a:lnTo>
                      <a:lnTo>
                        <a:pt x="1236854" y="411016"/>
                      </a:lnTo>
                      <a:lnTo>
                        <a:pt x="1251565" y="454127"/>
                      </a:lnTo>
                      <a:lnTo>
                        <a:pt x="1263223" y="498560"/>
                      </a:lnTo>
                      <a:lnTo>
                        <a:pt x="1271703" y="544191"/>
                      </a:lnTo>
                      <a:lnTo>
                        <a:pt x="1276882" y="590898"/>
                      </a:lnTo>
                      <a:lnTo>
                        <a:pt x="1278636" y="638555"/>
                      </a:lnTo>
                      <a:lnTo>
                        <a:pt x="1276882" y="686213"/>
                      </a:lnTo>
                      <a:lnTo>
                        <a:pt x="1271703" y="732920"/>
                      </a:lnTo>
                      <a:lnTo>
                        <a:pt x="1263223" y="778551"/>
                      </a:lnTo>
                      <a:lnTo>
                        <a:pt x="1251565" y="822984"/>
                      </a:lnTo>
                      <a:lnTo>
                        <a:pt x="1236854" y="866095"/>
                      </a:lnTo>
                      <a:lnTo>
                        <a:pt x="1219212" y="907761"/>
                      </a:lnTo>
                      <a:lnTo>
                        <a:pt x="1198763" y="947858"/>
                      </a:lnTo>
                      <a:lnTo>
                        <a:pt x="1175631" y="986262"/>
                      </a:lnTo>
                      <a:lnTo>
                        <a:pt x="1149940" y="1022851"/>
                      </a:lnTo>
                      <a:lnTo>
                        <a:pt x="1121813" y="1057501"/>
                      </a:lnTo>
                      <a:lnTo>
                        <a:pt x="1091374" y="1090088"/>
                      </a:lnTo>
                      <a:lnTo>
                        <a:pt x="1058747" y="1120489"/>
                      </a:lnTo>
                      <a:lnTo>
                        <a:pt x="1024055" y="1148581"/>
                      </a:lnTo>
                      <a:lnTo>
                        <a:pt x="987422" y="1174240"/>
                      </a:lnTo>
                      <a:lnTo>
                        <a:pt x="948971" y="1197342"/>
                      </a:lnTo>
                      <a:lnTo>
                        <a:pt x="908827" y="1217765"/>
                      </a:lnTo>
                      <a:lnTo>
                        <a:pt x="867112" y="1235384"/>
                      </a:lnTo>
                      <a:lnTo>
                        <a:pt x="823952" y="1250077"/>
                      </a:lnTo>
                      <a:lnTo>
                        <a:pt x="779468" y="1261719"/>
                      </a:lnTo>
                      <a:lnTo>
                        <a:pt x="733785" y="1270188"/>
                      </a:lnTo>
                      <a:lnTo>
                        <a:pt x="687027" y="1275360"/>
                      </a:lnTo>
                      <a:lnTo>
                        <a:pt x="639317" y="1277112"/>
                      </a:lnTo>
                      <a:lnTo>
                        <a:pt x="591608" y="1275360"/>
                      </a:lnTo>
                      <a:lnTo>
                        <a:pt x="544850" y="1270188"/>
                      </a:lnTo>
                      <a:lnTo>
                        <a:pt x="499167" y="1261719"/>
                      </a:lnTo>
                      <a:lnTo>
                        <a:pt x="454683" y="1250077"/>
                      </a:lnTo>
                      <a:lnTo>
                        <a:pt x="411523" y="1235384"/>
                      </a:lnTo>
                      <a:lnTo>
                        <a:pt x="369808" y="1217765"/>
                      </a:lnTo>
                      <a:lnTo>
                        <a:pt x="329664" y="1197342"/>
                      </a:lnTo>
                      <a:lnTo>
                        <a:pt x="291213" y="1174240"/>
                      </a:lnTo>
                      <a:lnTo>
                        <a:pt x="254580" y="1148581"/>
                      </a:lnTo>
                      <a:lnTo>
                        <a:pt x="219888" y="1120489"/>
                      </a:lnTo>
                      <a:lnTo>
                        <a:pt x="187261" y="1090088"/>
                      </a:lnTo>
                      <a:lnTo>
                        <a:pt x="156822" y="1057501"/>
                      </a:lnTo>
                      <a:lnTo>
                        <a:pt x="128695" y="1022851"/>
                      </a:lnTo>
                      <a:lnTo>
                        <a:pt x="103004" y="986262"/>
                      </a:lnTo>
                      <a:lnTo>
                        <a:pt x="79872" y="947858"/>
                      </a:lnTo>
                      <a:lnTo>
                        <a:pt x="59423" y="907761"/>
                      </a:lnTo>
                      <a:lnTo>
                        <a:pt x="41781" y="866095"/>
                      </a:lnTo>
                      <a:lnTo>
                        <a:pt x="27070" y="822984"/>
                      </a:lnTo>
                      <a:lnTo>
                        <a:pt x="15412" y="778551"/>
                      </a:lnTo>
                      <a:lnTo>
                        <a:pt x="6932" y="732920"/>
                      </a:lnTo>
                      <a:lnTo>
                        <a:pt x="1753" y="686213"/>
                      </a:lnTo>
                      <a:lnTo>
                        <a:pt x="0" y="638555"/>
                      </a:lnTo>
                      <a:lnTo>
                        <a:pt x="2217" y="585401"/>
                      </a:lnTo>
                      <a:lnTo>
                        <a:pt x="8812" y="532886"/>
                      </a:lnTo>
                      <a:lnTo>
                        <a:pt x="19696" y="481266"/>
                      </a:lnTo>
                      <a:lnTo>
                        <a:pt x="34782" y="430799"/>
                      </a:lnTo>
                      <a:lnTo>
                        <a:pt x="53981" y="381744"/>
                      </a:lnTo>
                      <a:lnTo>
                        <a:pt x="77206" y="334357"/>
                      </a:lnTo>
                      <a:lnTo>
                        <a:pt x="104368" y="288895"/>
                      </a:lnTo>
                      <a:lnTo>
                        <a:pt x="135382" y="245617"/>
                      </a:lnTo>
                    </a:path>
                  </a:pathLst>
                </a:custGeom>
                <a:ln w="15240">
                  <a:solidFill>
                    <a:srgbClr val="A6A6A6"/>
                  </a:solidFill>
                </a:ln>
              </p:spPr>
              <p:txBody>
                <a:bodyPr wrap="square" lIns="0" tIns="0" rIns="0" bIns="0" rtlCol="0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900" b="0" i="0" u="none" strike="noStrike" kern="0" cap="none" spc="0" normalizeH="0" baseline="0" noProof="0">
                    <a:ln>
                      <a:noFill/>
                    </a:ln>
                    <a:solidFill>
                      <a:srgbClr val="5C5C5C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66" name="object 19">
                  <a:extLst>
                    <a:ext uri="{FF2B5EF4-FFF2-40B4-BE49-F238E27FC236}">
                      <a16:creationId xmlns:a16="http://schemas.microsoft.com/office/drawing/2014/main" id="{7F4E4D78-4975-4E74-91AB-EA1696C348D4}"/>
                    </a:ext>
                  </a:extLst>
                </p:cNvPr>
                <p:cNvSpPr/>
                <p:nvPr/>
              </p:nvSpPr>
              <p:spPr>
                <a:xfrm>
                  <a:off x="4111752" y="1822704"/>
                  <a:ext cx="772795" cy="10826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72795" h="1082675">
                      <a:moveTo>
                        <a:pt x="0" y="0"/>
                      </a:moveTo>
                      <a:lnTo>
                        <a:pt x="48863" y="1521"/>
                      </a:lnTo>
                      <a:lnTo>
                        <a:pt x="96919" y="6026"/>
                      </a:lnTo>
                      <a:lnTo>
                        <a:pt x="144077" y="13424"/>
                      </a:lnTo>
                      <a:lnTo>
                        <a:pt x="190246" y="23624"/>
                      </a:lnTo>
                      <a:lnTo>
                        <a:pt x="235337" y="36535"/>
                      </a:lnTo>
                      <a:lnTo>
                        <a:pt x="279258" y="52067"/>
                      </a:lnTo>
                      <a:lnTo>
                        <a:pt x="321919" y="70128"/>
                      </a:lnTo>
                      <a:lnTo>
                        <a:pt x="363229" y="90629"/>
                      </a:lnTo>
                      <a:lnTo>
                        <a:pt x="403098" y="113479"/>
                      </a:lnTo>
                      <a:lnTo>
                        <a:pt x="441436" y="138587"/>
                      </a:lnTo>
                      <a:lnTo>
                        <a:pt x="478151" y="165862"/>
                      </a:lnTo>
                      <a:lnTo>
                        <a:pt x="513154" y="195214"/>
                      </a:lnTo>
                      <a:lnTo>
                        <a:pt x="546354" y="226552"/>
                      </a:lnTo>
                      <a:lnTo>
                        <a:pt x="577659" y="259785"/>
                      </a:lnTo>
                      <a:lnTo>
                        <a:pt x="606981" y="294823"/>
                      </a:lnTo>
                      <a:lnTo>
                        <a:pt x="634228" y="331575"/>
                      </a:lnTo>
                      <a:lnTo>
                        <a:pt x="659309" y="369951"/>
                      </a:lnTo>
                      <a:lnTo>
                        <a:pt x="682135" y="409859"/>
                      </a:lnTo>
                      <a:lnTo>
                        <a:pt x="702614" y="451210"/>
                      </a:lnTo>
                      <a:lnTo>
                        <a:pt x="720657" y="493912"/>
                      </a:lnTo>
                      <a:lnTo>
                        <a:pt x="736172" y="537875"/>
                      </a:lnTo>
                      <a:lnTo>
                        <a:pt x="749069" y="583008"/>
                      </a:lnTo>
                      <a:lnTo>
                        <a:pt x="759257" y="629221"/>
                      </a:lnTo>
                      <a:lnTo>
                        <a:pt x="766647" y="676422"/>
                      </a:lnTo>
                      <a:lnTo>
                        <a:pt x="771147" y="724522"/>
                      </a:lnTo>
                      <a:lnTo>
                        <a:pt x="772668" y="773430"/>
                      </a:lnTo>
                      <a:lnTo>
                        <a:pt x="770853" y="826453"/>
                      </a:lnTo>
                      <a:lnTo>
                        <a:pt x="765433" y="879103"/>
                      </a:lnTo>
                      <a:lnTo>
                        <a:pt x="756443" y="931195"/>
                      </a:lnTo>
                      <a:lnTo>
                        <a:pt x="743918" y="982547"/>
                      </a:lnTo>
                      <a:lnTo>
                        <a:pt x="727894" y="1032974"/>
                      </a:lnTo>
                      <a:lnTo>
                        <a:pt x="708406" y="1082294"/>
                      </a:lnTo>
                    </a:path>
                  </a:pathLst>
                </a:custGeom>
                <a:ln w="15240">
                  <a:solidFill>
                    <a:srgbClr val="A6A6A6"/>
                  </a:solidFill>
                </a:ln>
              </p:spPr>
              <p:txBody>
                <a:bodyPr wrap="square" lIns="0" tIns="0" rIns="0" bIns="0" rtlCol="0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900" b="0" i="0" u="none" strike="noStrike" kern="0" cap="none" spc="0" normalizeH="0" baseline="0" noProof="0">
                    <a:ln>
                      <a:noFill/>
                    </a:ln>
                    <a:solidFill>
                      <a:srgbClr val="5C5C5C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67" name="object 40">
                  <a:extLst>
                    <a:ext uri="{FF2B5EF4-FFF2-40B4-BE49-F238E27FC236}">
                      <a16:creationId xmlns:a16="http://schemas.microsoft.com/office/drawing/2014/main" id="{3A623F1C-07A7-42E6-979B-7C08AA283CF1}"/>
                    </a:ext>
                  </a:extLst>
                </p:cNvPr>
                <p:cNvSpPr/>
                <p:nvPr/>
              </p:nvSpPr>
              <p:spPr>
                <a:xfrm>
                  <a:off x="3547109" y="2032254"/>
                  <a:ext cx="1130935" cy="113093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0935" h="1130935">
                      <a:moveTo>
                        <a:pt x="565403" y="0"/>
                      </a:moveTo>
                      <a:lnTo>
                        <a:pt x="516614" y="2075"/>
                      </a:lnTo>
                      <a:lnTo>
                        <a:pt x="468978" y="8187"/>
                      </a:lnTo>
                      <a:lnTo>
                        <a:pt x="422665" y="18167"/>
                      </a:lnTo>
                      <a:lnTo>
                        <a:pt x="377844" y="31845"/>
                      </a:lnTo>
                      <a:lnTo>
                        <a:pt x="334686" y="49051"/>
                      </a:lnTo>
                      <a:lnTo>
                        <a:pt x="293360" y="69615"/>
                      </a:lnTo>
                      <a:lnTo>
                        <a:pt x="254034" y="93369"/>
                      </a:lnTo>
                      <a:lnTo>
                        <a:pt x="216881" y="120142"/>
                      </a:lnTo>
                      <a:lnTo>
                        <a:pt x="182067" y="149765"/>
                      </a:lnTo>
                      <a:lnTo>
                        <a:pt x="149765" y="182067"/>
                      </a:lnTo>
                      <a:lnTo>
                        <a:pt x="120142" y="216881"/>
                      </a:lnTo>
                      <a:lnTo>
                        <a:pt x="93369" y="254034"/>
                      </a:lnTo>
                      <a:lnTo>
                        <a:pt x="69615" y="293360"/>
                      </a:lnTo>
                      <a:lnTo>
                        <a:pt x="49051" y="334686"/>
                      </a:lnTo>
                      <a:lnTo>
                        <a:pt x="31845" y="377844"/>
                      </a:lnTo>
                      <a:lnTo>
                        <a:pt x="18167" y="422665"/>
                      </a:lnTo>
                      <a:lnTo>
                        <a:pt x="8187" y="468978"/>
                      </a:lnTo>
                      <a:lnTo>
                        <a:pt x="2075" y="516614"/>
                      </a:lnTo>
                      <a:lnTo>
                        <a:pt x="0" y="565404"/>
                      </a:lnTo>
                      <a:lnTo>
                        <a:pt x="2075" y="614193"/>
                      </a:lnTo>
                      <a:lnTo>
                        <a:pt x="8187" y="661829"/>
                      </a:lnTo>
                      <a:lnTo>
                        <a:pt x="18167" y="708142"/>
                      </a:lnTo>
                      <a:lnTo>
                        <a:pt x="31845" y="752963"/>
                      </a:lnTo>
                      <a:lnTo>
                        <a:pt x="49051" y="796121"/>
                      </a:lnTo>
                      <a:lnTo>
                        <a:pt x="69615" y="837447"/>
                      </a:lnTo>
                      <a:lnTo>
                        <a:pt x="93369" y="876773"/>
                      </a:lnTo>
                      <a:lnTo>
                        <a:pt x="120142" y="913926"/>
                      </a:lnTo>
                      <a:lnTo>
                        <a:pt x="149765" y="948740"/>
                      </a:lnTo>
                      <a:lnTo>
                        <a:pt x="182067" y="981042"/>
                      </a:lnTo>
                      <a:lnTo>
                        <a:pt x="216881" y="1010665"/>
                      </a:lnTo>
                      <a:lnTo>
                        <a:pt x="254034" y="1037438"/>
                      </a:lnTo>
                      <a:lnTo>
                        <a:pt x="293360" y="1061192"/>
                      </a:lnTo>
                      <a:lnTo>
                        <a:pt x="334686" y="1081756"/>
                      </a:lnTo>
                      <a:lnTo>
                        <a:pt x="377844" y="1098962"/>
                      </a:lnTo>
                      <a:lnTo>
                        <a:pt x="422665" y="1112640"/>
                      </a:lnTo>
                      <a:lnTo>
                        <a:pt x="468978" y="1122620"/>
                      </a:lnTo>
                      <a:lnTo>
                        <a:pt x="516614" y="1128732"/>
                      </a:lnTo>
                      <a:lnTo>
                        <a:pt x="565403" y="1130808"/>
                      </a:lnTo>
                      <a:lnTo>
                        <a:pt x="614193" y="1128732"/>
                      </a:lnTo>
                      <a:lnTo>
                        <a:pt x="661829" y="1122620"/>
                      </a:lnTo>
                      <a:lnTo>
                        <a:pt x="708142" y="1112640"/>
                      </a:lnTo>
                      <a:lnTo>
                        <a:pt x="752963" y="1098962"/>
                      </a:lnTo>
                      <a:lnTo>
                        <a:pt x="796121" y="1081756"/>
                      </a:lnTo>
                      <a:lnTo>
                        <a:pt x="837447" y="1061192"/>
                      </a:lnTo>
                      <a:lnTo>
                        <a:pt x="876773" y="1037438"/>
                      </a:lnTo>
                      <a:lnTo>
                        <a:pt x="913926" y="1010665"/>
                      </a:lnTo>
                      <a:lnTo>
                        <a:pt x="948740" y="981042"/>
                      </a:lnTo>
                      <a:lnTo>
                        <a:pt x="981042" y="948740"/>
                      </a:lnTo>
                      <a:lnTo>
                        <a:pt x="1010665" y="913926"/>
                      </a:lnTo>
                      <a:lnTo>
                        <a:pt x="1037438" y="876773"/>
                      </a:lnTo>
                      <a:lnTo>
                        <a:pt x="1061192" y="837447"/>
                      </a:lnTo>
                      <a:lnTo>
                        <a:pt x="1081756" y="796121"/>
                      </a:lnTo>
                      <a:lnTo>
                        <a:pt x="1098962" y="752963"/>
                      </a:lnTo>
                      <a:lnTo>
                        <a:pt x="1112640" y="708142"/>
                      </a:lnTo>
                      <a:lnTo>
                        <a:pt x="1122620" y="661829"/>
                      </a:lnTo>
                      <a:lnTo>
                        <a:pt x="1128732" y="614193"/>
                      </a:lnTo>
                      <a:lnTo>
                        <a:pt x="1130807" y="565404"/>
                      </a:lnTo>
                      <a:lnTo>
                        <a:pt x="1128732" y="516614"/>
                      </a:lnTo>
                      <a:lnTo>
                        <a:pt x="1122620" y="468978"/>
                      </a:lnTo>
                      <a:lnTo>
                        <a:pt x="1112640" y="422665"/>
                      </a:lnTo>
                      <a:lnTo>
                        <a:pt x="1098962" y="377844"/>
                      </a:lnTo>
                      <a:lnTo>
                        <a:pt x="1081756" y="334686"/>
                      </a:lnTo>
                      <a:lnTo>
                        <a:pt x="1061192" y="293360"/>
                      </a:lnTo>
                      <a:lnTo>
                        <a:pt x="1037438" y="254034"/>
                      </a:lnTo>
                      <a:lnTo>
                        <a:pt x="1010665" y="216881"/>
                      </a:lnTo>
                      <a:lnTo>
                        <a:pt x="981042" y="182067"/>
                      </a:lnTo>
                      <a:lnTo>
                        <a:pt x="948740" y="149765"/>
                      </a:lnTo>
                      <a:lnTo>
                        <a:pt x="913926" y="120142"/>
                      </a:lnTo>
                      <a:lnTo>
                        <a:pt x="876773" y="93369"/>
                      </a:lnTo>
                      <a:lnTo>
                        <a:pt x="837447" y="69615"/>
                      </a:lnTo>
                      <a:lnTo>
                        <a:pt x="796121" y="49051"/>
                      </a:lnTo>
                      <a:lnTo>
                        <a:pt x="752963" y="31845"/>
                      </a:lnTo>
                      <a:lnTo>
                        <a:pt x="708142" y="18167"/>
                      </a:lnTo>
                      <a:lnTo>
                        <a:pt x="661829" y="8187"/>
                      </a:lnTo>
                      <a:lnTo>
                        <a:pt x="614193" y="2075"/>
                      </a:lnTo>
                      <a:lnTo>
                        <a:pt x="56540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</p:spPr>
              <p:txBody>
                <a:bodyPr wrap="square" lIns="0" tIns="0" rIns="0" bIns="0" rtlCol="0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900" b="0" i="0" u="none" strike="noStrike" kern="0" cap="none" spc="0" normalizeH="0" baseline="0" noProof="0">
                    <a:ln>
                      <a:noFill/>
                    </a:ln>
                    <a:solidFill>
                      <a:srgbClr val="5C5C5C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68" name="object 41">
                  <a:extLst>
                    <a:ext uri="{FF2B5EF4-FFF2-40B4-BE49-F238E27FC236}">
                      <a16:creationId xmlns:a16="http://schemas.microsoft.com/office/drawing/2014/main" id="{52170709-DE41-4FFE-B01D-5363641D2A28}"/>
                    </a:ext>
                  </a:extLst>
                </p:cNvPr>
                <p:cNvSpPr/>
                <p:nvPr/>
              </p:nvSpPr>
              <p:spPr>
                <a:xfrm>
                  <a:off x="3547109" y="2032254"/>
                  <a:ext cx="1130935" cy="113093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0935" h="1130935">
                      <a:moveTo>
                        <a:pt x="0" y="565404"/>
                      </a:moveTo>
                      <a:lnTo>
                        <a:pt x="2075" y="516614"/>
                      </a:lnTo>
                      <a:lnTo>
                        <a:pt x="8187" y="468978"/>
                      </a:lnTo>
                      <a:lnTo>
                        <a:pt x="18167" y="422665"/>
                      </a:lnTo>
                      <a:lnTo>
                        <a:pt x="31845" y="377844"/>
                      </a:lnTo>
                      <a:lnTo>
                        <a:pt x="49051" y="334686"/>
                      </a:lnTo>
                      <a:lnTo>
                        <a:pt x="69615" y="293360"/>
                      </a:lnTo>
                      <a:lnTo>
                        <a:pt x="93369" y="254034"/>
                      </a:lnTo>
                      <a:lnTo>
                        <a:pt x="120142" y="216881"/>
                      </a:lnTo>
                      <a:lnTo>
                        <a:pt x="149765" y="182067"/>
                      </a:lnTo>
                      <a:lnTo>
                        <a:pt x="182067" y="149765"/>
                      </a:lnTo>
                      <a:lnTo>
                        <a:pt x="216881" y="120142"/>
                      </a:lnTo>
                      <a:lnTo>
                        <a:pt x="254034" y="93369"/>
                      </a:lnTo>
                      <a:lnTo>
                        <a:pt x="293360" y="69615"/>
                      </a:lnTo>
                      <a:lnTo>
                        <a:pt x="334686" y="49051"/>
                      </a:lnTo>
                      <a:lnTo>
                        <a:pt x="377844" y="31845"/>
                      </a:lnTo>
                      <a:lnTo>
                        <a:pt x="422665" y="18167"/>
                      </a:lnTo>
                      <a:lnTo>
                        <a:pt x="468978" y="8187"/>
                      </a:lnTo>
                      <a:lnTo>
                        <a:pt x="516614" y="2075"/>
                      </a:lnTo>
                      <a:lnTo>
                        <a:pt x="565403" y="0"/>
                      </a:lnTo>
                      <a:lnTo>
                        <a:pt x="614193" y="2075"/>
                      </a:lnTo>
                      <a:lnTo>
                        <a:pt x="661829" y="8187"/>
                      </a:lnTo>
                      <a:lnTo>
                        <a:pt x="708142" y="18167"/>
                      </a:lnTo>
                      <a:lnTo>
                        <a:pt x="752963" y="31845"/>
                      </a:lnTo>
                      <a:lnTo>
                        <a:pt x="796121" y="49051"/>
                      </a:lnTo>
                      <a:lnTo>
                        <a:pt x="837447" y="69615"/>
                      </a:lnTo>
                      <a:lnTo>
                        <a:pt x="876773" y="93369"/>
                      </a:lnTo>
                      <a:lnTo>
                        <a:pt x="913926" y="120142"/>
                      </a:lnTo>
                      <a:lnTo>
                        <a:pt x="948740" y="149765"/>
                      </a:lnTo>
                      <a:lnTo>
                        <a:pt x="981042" y="182067"/>
                      </a:lnTo>
                      <a:lnTo>
                        <a:pt x="1010665" y="216881"/>
                      </a:lnTo>
                      <a:lnTo>
                        <a:pt x="1037438" y="254034"/>
                      </a:lnTo>
                      <a:lnTo>
                        <a:pt x="1061192" y="293360"/>
                      </a:lnTo>
                      <a:lnTo>
                        <a:pt x="1081756" y="334686"/>
                      </a:lnTo>
                      <a:lnTo>
                        <a:pt x="1098962" y="377844"/>
                      </a:lnTo>
                      <a:lnTo>
                        <a:pt x="1112640" y="422665"/>
                      </a:lnTo>
                      <a:lnTo>
                        <a:pt x="1122620" y="468978"/>
                      </a:lnTo>
                      <a:lnTo>
                        <a:pt x="1128732" y="516614"/>
                      </a:lnTo>
                      <a:lnTo>
                        <a:pt x="1130807" y="565404"/>
                      </a:lnTo>
                      <a:lnTo>
                        <a:pt x="1128732" y="614193"/>
                      </a:lnTo>
                      <a:lnTo>
                        <a:pt x="1122620" y="661829"/>
                      </a:lnTo>
                      <a:lnTo>
                        <a:pt x="1112640" y="708142"/>
                      </a:lnTo>
                      <a:lnTo>
                        <a:pt x="1098962" y="752963"/>
                      </a:lnTo>
                      <a:lnTo>
                        <a:pt x="1081756" y="796121"/>
                      </a:lnTo>
                      <a:lnTo>
                        <a:pt x="1061192" y="837447"/>
                      </a:lnTo>
                      <a:lnTo>
                        <a:pt x="1037438" y="876773"/>
                      </a:lnTo>
                      <a:lnTo>
                        <a:pt x="1010665" y="913926"/>
                      </a:lnTo>
                      <a:lnTo>
                        <a:pt x="981042" y="948740"/>
                      </a:lnTo>
                      <a:lnTo>
                        <a:pt x="948740" y="981042"/>
                      </a:lnTo>
                      <a:lnTo>
                        <a:pt x="913926" y="1010665"/>
                      </a:lnTo>
                      <a:lnTo>
                        <a:pt x="876773" y="1037438"/>
                      </a:lnTo>
                      <a:lnTo>
                        <a:pt x="837447" y="1061192"/>
                      </a:lnTo>
                      <a:lnTo>
                        <a:pt x="796121" y="1081756"/>
                      </a:lnTo>
                      <a:lnTo>
                        <a:pt x="752963" y="1098962"/>
                      </a:lnTo>
                      <a:lnTo>
                        <a:pt x="708142" y="1112640"/>
                      </a:lnTo>
                      <a:lnTo>
                        <a:pt x="661829" y="1122620"/>
                      </a:lnTo>
                      <a:lnTo>
                        <a:pt x="614193" y="1128732"/>
                      </a:lnTo>
                      <a:lnTo>
                        <a:pt x="565403" y="1130808"/>
                      </a:lnTo>
                      <a:lnTo>
                        <a:pt x="516614" y="1128732"/>
                      </a:lnTo>
                      <a:lnTo>
                        <a:pt x="468978" y="1122620"/>
                      </a:lnTo>
                      <a:lnTo>
                        <a:pt x="422665" y="1112640"/>
                      </a:lnTo>
                      <a:lnTo>
                        <a:pt x="377844" y="1098962"/>
                      </a:lnTo>
                      <a:lnTo>
                        <a:pt x="334686" y="1081756"/>
                      </a:lnTo>
                      <a:lnTo>
                        <a:pt x="293360" y="1061192"/>
                      </a:lnTo>
                      <a:lnTo>
                        <a:pt x="254034" y="1037438"/>
                      </a:lnTo>
                      <a:lnTo>
                        <a:pt x="216881" y="1010665"/>
                      </a:lnTo>
                      <a:lnTo>
                        <a:pt x="182067" y="981042"/>
                      </a:lnTo>
                      <a:lnTo>
                        <a:pt x="149765" y="948740"/>
                      </a:lnTo>
                      <a:lnTo>
                        <a:pt x="120142" y="913926"/>
                      </a:lnTo>
                      <a:lnTo>
                        <a:pt x="93369" y="876773"/>
                      </a:lnTo>
                      <a:lnTo>
                        <a:pt x="69615" y="837447"/>
                      </a:lnTo>
                      <a:lnTo>
                        <a:pt x="49051" y="796121"/>
                      </a:lnTo>
                      <a:lnTo>
                        <a:pt x="31845" y="752963"/>
                      </a:lnTo>
                      <a:lnTo>
                        <a:pt x="18167" y="708142"/>
                      </a:lnTo>
                      <a:lnTo>
                        <a:pt x="8187" y="661829"/>
                      </a:lnTo>
                      <a:lnTo>
                        <a:pt x="2075" y="614193"/>
                      </a:lnTo>
                      <a:lnTo>
                        <a:pt x="0" y="565404"/>
                      </a:lnTo>
                      <a:close/>
                    </a:path>
                  </a:pathLst>
                </a:custGeom>
                <a:ln w="19812">
                  <a:solidFill>
                    <a:srgbClr val="A6A6A6"/>
                  </a:solidFill>
                </a:ln>
              </p:spPr>
              <p:txBody>
                <a:bodyPr wrap="square" lIns="0" tIns="0" rIns="0" bIns="0" rtlCol="0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900" b="0" i="0" u="none" strike="noStrike" kern="0" cap="none" spc="0" normalizeH="0" baseline="0" noProof="0">
                    <a:ln>
                      <a:noFill/>
                    </a:ln>
                    <a:solidFill>
                      <a:srgbClr val="5C5C5C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62" name="object 21">
                <a:extLst>
                  <a:ext uri="{FF2B5EF4-FFF2-40B4-BE49-F238E27FC236}">
                    <a16:creationId xmlns:a16="http://schemas.microsoft.com/office/drawing/2014/main" id="{AA94667E-179D-4C24-BB70-2FA073913363}"/>
                  </a:ext>
                </a:extLst>
              </p:cNvPr>
              <p:cNvSpPr txBox="1"/>
              <p:nvPr/>
            </p:nvSpPr>
            <p:spPr>
              <a:xfrm>
                <a:off x="2350494" y="2975372"/>
                <a:ext cx="1399885" cy="276999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 marL="12700" marR="5080" lvl="0" indent="635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b-NO" sz="900" b="0" i="0" u="none" strike="noStrike" kern="0" cap="none" spc="-1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Verdana"/>
                  </a:rPr>
                  <a:t>Oppretter / kontrollerer og fullfører innkjøpsforespørsel</a:t>
                </a:r>
              </a:p>
            </p:txBody>
          </p:sp>
          <p:sp>
            <p:nvSpPr>
              <p:cNvPr id="63" name="object 66">
                <a:extLst>
                  <a:ext uri="{FF2B5EF4-FFF2-40B4-BE49-F238E27FC236}">
                    <a16:creationId xmlns:a16="http://schemas.microsoft.com/office/drawing/2014/main" id="{06F51D83-4CE5-4EE5-85A1-92CBD96EC82E}"/>
                  </a:ext>
                </a:extLst>
              </p:cNvPr>
              <p:cNvSpPr/>
              <p:nvPr/>
            </p:nvSpPr>
            <p:spPr>
              <a:xfrm>
                <a:off x="2613388" y="2200392"/>
                <a:ext cx="534975" cy="445470"/>
              </a:xfrm>
              <a:prstGeom prst="rect">
                <a:avLst/>
              </a:prstGeom>
              <a:blipFill>
                <a:blip r:embed="rId1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a:blipFill>
            </p:spPr>
            <p:txBody>
              <a:bodyPr wrap="square" lIns="0" tIns="0" rIns="0" bIns="0" rtlCol="0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900" b="0" i="0" u="none" strike="noStrike" kern="0" cap="none" spc="0" normalizeH="0" baseline="0" noProof="0">
                  <a:ln>
                    <a:noFill/>
                  </a:ln>
                  <a:solidFill>
                    <a:srgbClr val="5C5C5C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</p:grp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B783C816-13FC-40E8-B793-1B3B299139AE}"/>
                </a:ext>
              </a:extLst>
            </p:cNvPr>
            <p:cNvSpPr txBox="1"/>
            <p:nvPr/>
          </p:nvSpPr>
          <p:spPr>
            <a:xfrm>
              <a:off x="4689951" y="2983535"/>
              <a:ext cx="1282148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 err="1">
                  <a:ln>
                    <a:noFill/>
                  </a:ln>
                  <a:solidFill>
                    <a:srgbClr val="5C5C5C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Innkjøper</a:t>
              </a:r>
              <a:endPara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31" name="object 8">
            <a:extLst>
              <a:ext uri="{FF2B5EF4-FFF2-40B4-BE49-F238E27FC236}">
                <a16:creationId xmlns:a16="http://schemas.microsoft.com/office/drawing/2014/main" id="{1AF27EB5-F9C2-4A61-91A0-C8D6D7E8C465}"/>
              </a:ext>
            </a:extLst>
          </p:cNvPr>
          <p:cNvSpPr/>
          <p:nvPr/>
        </p:nvSpPr>
        <p:spPr>
          <a:xfrm>
            <a:off x="4484780" y="2320266"/>
            <a:ext cx="189709" cy="538893"/>
          </a:xfrm>
          <a:prstGeom prst="rect">
            <a:avLst/>
          </a:prstGeom>
          <a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761C3646-9CAC-46D2-8CCF-9ED0351A70D8}"/>
              </a:ext>
            </a:extLst>
          </p:cNvPr>
          <p:cNvSpPr txBox="1"/>
          <p:nvPr/>
        </p:nvSpPr>
        <p:spPr>
          <a:xfrm>
            <a:off x="4318516" y="2044203"/>
            <a:ext cx="99449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err="1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Kostnads-godkjenner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33" name="object 52">
            <a:extLst>
              <a:ext uri="{FF2B5EF4-FFF2-40B4-BE49-F238E27FC236}">
                <a16:creationId xmlns:a16="http://schemas.microsoft.com/office/drawing/2014/main" id="{56F7333C-238E-4671-802A-5640AF848B00}"/>
              </a:ext>
            </a:extLst>
          </p:cNvPr>
          <p:cNvSpPr txBox="1"/>
          <p:nvPr/>
        </p:nvSpPr>
        <p:spPr>
          <a:xfrm>
            <a:off x="4608896" y="1474647"/>
            <a:ext cx="1305617" cy="289182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 lvl="0" indent="0" algn="ctr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-5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Godkjenner</a:t>
            </a:r>
            <a:r>
              <a:rPr kumimoji="0" lang="en-US" sz="900" b="0" i="0" u="none" strike="noStrike" kern="1200" cap="none" spc="-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 </a:t>
            </a:r>
            <a:r>
              <a:rPr kumimoji="0" lang="en-US" sz="900" b="0" i="0" u="none" strike="noStrike" kern="1200" cap="none" spc="-5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innkjøpsforespørsel</a:t>
            </a:r>
            <a:endParaRPr kumimoji="0" lang="en-US" sz="900" b="0" i="0" u="none" strike="noStrike" kern="1200" cap="none" spc="-5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Verdana"/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A5EBDB1A-F233-41F2-B11D-4B2D0768B197}"/>
              </a:ext>
            </a:extLst>
          </p:cNvPr>
          <p:cNvGrpSpPr/>
          <p:nvPr/>
        </p:nvGrpSpPr>
        <p:grpSpPr>
          <a:xfrm>
            <a:off x="5192343" y="3218838"/>
            <a:ext cx="1038530" cy="1130932"/>
            <a:chOff x="3467100" y="1822704"/>
            <a:chExt cx="1417447" cy="1481455"/>
          </a:xfrm>
        </p:grpSpPr>
        <p:sp>
          <p:nvSpPr>
            <p:cNvPr id="54" name="object 17">
              <a:extLst>
                <a:ext uri="{FF2B5EF4-FFF2-40B4-BE49-F238E27FC236}">
                  <a16:creationId xmlns:a16="http://schemas.microsoft.com/office/drawing/2014/main" id="{73DA793B-CF37-41CC-A4C0-B083CAD94E1B}"/>
                </a:ext>
              </a:extLst>
            </p:cNvPr>
            <p:cNvSpPr/>
            <p:nvPr/>
          </p:nvSpPr>
          <p:spPr>
            <a:xfrm>
              <a:off x="3550284" y="1898904"/>
              <a:ext cx="1259840" cy="1405255"/>
            </a:xfrm>
            <a:custGeom>
              <a:avLst/>
              <a:gdLst/>
              <a:ahLst/>
              <a:cxnLst/>
              <a:rect l="l" t="t" r="r" b="b"/>
              <a:pathLst>
                <a:path w="1259839" h="1405254">
                  <a:moveTo>
                    <a:pt x="556132" y="0"/>
                  </a:moveTo>
                  <a:lnTo>
                    <a:pt x="604293" y="1620"/>
                  </a:lnTo>
                  <a:lnTo>
                    <a:pt x="651582" y="6414"/>
                  </a:lnTo>
                  <a:lnTo>
                    <a:pt x="697894" y="14274"/>
                  </a:lnTo>
                  <a:lnTo>
                    <a:pt x="743124" y="25098"/>
                  </a:lnTo>
                  <a:lnTo>
                    <a:pt x="787169" y="38780"/>
                  </a:lnTo>
                  <a:lnTo>
                    <a:pt x="829923" y="55215"/>
                  </a:lnTo>
                  <a:lnTo>
                    <a:pt x="871281" y="74299"/>
                  </a:lnTo>
                  <a:lnTo>
                    <a:pt x="911140" y="95927"/>
                  </a:lnTo>
                  <a:lnTo>
                    <a:pt x="949394" y="119994"/>
                  </a:lnTo>
                  <a:lnTo>
                    <a:pt x="985938" y="146397"/>
                  </a:lnTo>
                  <a:lnTo>
                    <a:pt x="1020669" y="175029"/>
                  </a:lnTo>
                  <a:lnTo>
                    <a:pt x="1053480" y="205787"/>
                  </a:lnTo>
                  <a:lnTo>
                    <a:pt x="1084269" y="238566"/>
                  </a:lnTo>
                  <a:lnTo>
                    <a:pt x="1112929" y="273261"/>
                  </a:lnTo>
                  <a:lnTo>
                    <a:pt x="1139356" y="309767"/>
                  </a:lnTo>
                  <a:lnTo>
                    <a:pt x="1163447" y="347980"/>
                  </a:lnTo>
                  <a:lnTo>
                    <a:pt x="1185094" y="387794"/>
                  </a:lnTo>
                  <a:lnTo>
                    <a:pt x="1204196" y="429107"/>
                  </a:lnTo>
                  <a:lnTo>
                    <a:pt x="1220645" y="471812"/>
                  </a:lnTo>
                  <a:lnTo>
                    <a:pt x="1234339" y="515805"/>
                  </a:lnTo>
                  <a:lnTo>
                    <a:pt x="1245172" y="560981"/>
                  </a:lnTo>
                  <a:lnTo>
                    <a:pt x="1253039" y="607236"/>
                  </a:lnTo>
                  <a:lnTo>
                    <a:pt x="1257836" y="654465"/>
                  </a:lnTo>
                  <a:lnTo>
                    <a:pt x="1259459" y="702563"/>
                  </a:lnTo>
                  <a:lnTo>
                    <a:pt x="1257836" y="750662"/>
                  </a:lnTo>
                  <a:lnTo>
                    <a:pt x="1253039" y="797891"/>
                  </a:lnTo>
                  <a:lnTo>
                    <a:pt x="1245172" y="844146"/>
                  </a:lnTo>
                  <a:lnTo>
                    <a:pt x="1234339" y="889322"/>
                  </a:lnTo>
                  <a:lnTo>
                    <a:pt x="1220645" y="933315"/>
                  </a:lnTo>
                  <a:lnTo>
                    <a:pt x="1204196" y="976020"/>
                  </a:lnTo>
                  <a:lnTo>
                    <a:pt x="1185094" y="1017333"/>
                  </a:lnTo>
                  <a:lnTo>
                    <a:pt x="1163447" y="1057147"/>
                  </a:lnTo>
                  <a:lnTo>
                    <a:pt x="1139356" y="1095360"/>
                  </a:lnTo>
                  <a:lnTo>
                    <a:pt x="1112929" y="1131866"/>
                  </a:lnTo>
                  <a:lnTo>
                    <a:pt x="1084269" y="1166561"/>
                  </a:lnTo>
                  <a:lnTo>
                    <a:pt x="1053480" y="1199340"/>
                  </a:lnTo>
                  <a:lnTo>
                    <a:pt x="1020669" y="1230098"/>
                  </a:lnTo>
                  <a:lnTo>
                    <a:pt x="985938" y="1258730"/>
                  </a:lnTo>
                  <a:lnTo>
                    <a:pt x="949394" y="1285133"/>
                  </a:lnTo>
                  <a:lnTo>
                    <a:pt x="911140" y="1309200"/>
                  </a:lnTo>
                  <a:lnTo>
                    <a:pt x="871281" y="1330828"/>
                  </a:lnTo>
                  <a:lnTo>
                    <a:pt x="829923" y="1349912"/>
                  </a:lnTo>
                  <a:lnTo>
                    <a:pt x="787169" y="1366347"/>
                  </a:lnTo>
                  <a:lnTo>
                    <a:pt x="743124" y="1380029"/>
                  </a:lnTo>
                  <a:lnTo>
                    <a:pt x="697894" y="1390853"/>
                  </a:lnTo>
                  <a:lnTo>
                    <a:pt x="651582" y="1398713"/>
                  </a:lnTo>
                  <a:lnTo>
                    <a:pt x="604293" y="1403507"/>
                  </a:lnTo>
                  <a:lnTo>
                    <a:pt x="556132" y="1405128"/>
                  </a:lnTo>
                  <a:lnTo>
                    <a:pt x="506172" y="1403355"/>
                  </a:lnTo>
                  <a:lnTo>
                    <a:pt x="456808" y="1398092"/>
                  </a:lnTo>
                  <a:lnTo>
                    <a:pt x="408205" y="1389418"/>
                  </a:lnTo>
                  <a:lnTo>
                    <a:pt x="360525" y="1377414"/>
                  </a:lnTo>
                  <a:lnTo>
                    <a:pt x="313933" y="1362159"/>
                  </a:lnTo>
                  <a:lnTo>
                    <a:pt x="268593" y="1343733"/>
                  </a:lnTo>
                  <a:lnTo>
                    <a:pt x="224667" y="1322217"/>
                  </a:lnTo>
                  <a:lnTo>
                    <a:pt x="182321" y="1297691"/>
                  </a:lnTo>
                  <a:lnTo>
                    <a:pt x="141717" y="1270235"/>
                  </a:lnTo>
                  <a:lnTo>
                    <a:pt x="103019" y="1239929"/>
                  </a:lnTo>
                  <a:lnTo>
                    <a:pt x="66391" y="1206853"/>
                  </a:lnTo>
                  <a:lnTo>
                    <a:pt x="31997" y="1171088"/>
                  </a:lnTo>
                  <a:lnTo>
                    <a:pt x="0" y="1132713"/>
                  </a:lnTo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55" name="object 18">
              <a:extLst>
                <a:ext uri="{FF2B5EF4-FFF2-40B4-BE49-F238E27FC236}">
                  <a16:creationId xmlns:a16="http://schemas.microsoft.com/office/drawing/2014/main" id="{972E0CE8-6DAF-46CA-941C-385E55B9C990}"/>
                </a:ext>
              </a:extLst>
            </p:cNvPr>
            <p:cNvSpPr/>
            <p:nvPr/>
          </p:nvSpPr>
          <p:spPr>
            <a:xfrm>
              <a:off x="3467100" y="1962911"/>
              <a:ext cx="1278890" cy="1277620"/>
            </a:xfrm>
            <a:custGeom>
              <a:avLst/>
              <a:gdLst/>
              <a:ahLst/>
              <a:cxnLst/>
              <a:rect l="l" t="t" r="r" b="b"/>
              <a:pathLst>
                <a:path w="1278889" h="1277620">
                  <a:moveTo>
                    <a:pt x="639317" y="0"/>
                  </a:moveTo>
                  <a:lnTo>
                    <a:pt x="687027" y="1751"/>
                  </a:lnTo>
                  <a:lnTo>
                    <a:pt x="733785" y="6923"/>
                  </a:lnTo>
                  <a:lnTo>
                    <a:pt x="779468" y="15392"/>
                  </a:lnTo>
                  <a:lnTo>
                    <a:pt x="823952" y="27034"/>
                  </a:lnTo>
                  <a:lnTo>
                    <a:pt x="867112" y="41727"/>
                  </a:lnTo>
                  <a:lnTo>
                    <a:pt x="908827" y="59346"/>
                  </a:lnTo>
                  <a:lnTo>
                    <a:pt x="948971" y="79769"/>
                  </a:lnTo>
                  <a:lnTo>
                    <a:pt x="987422" y="102871"/>
                  </a:lnTo>
                  <a:lnTo>
                    <a:pt x="1024055" y="128530"/>
                  </a:lnTo>
                  <a:lnTo>
                    <a:pt x="1058747" y="156622"/>
                  </a:lnTo>
                  <a:lnTo>
                    <a:pt x="1091374" y="187023"/>
                  </a:lnTo>
                  <a:lnTo>
                    <a:pt x="1121813" y="219610"/>
                  </a:lnTo>
                  <a:lnTo>
                    <a:pt x="1149940" y="254260"/>
                  </a:lnTo>
                  <a:lnTo>
                    <a:pt x="1175631" y="290849"/>
                  </a:lnTo>
                  <a:lnTo>
                    <a:pt x="1198763" y="329253"/>
                  </a:lnTo>
                  <a:lnTo>
                    <a:pt x="1219212" y="369350"/>
                  </a:lnTo>
                  <a:lnTo>
                    <a:pt x="1236854" y="411016"/>
                  </a:lnTo>
                  <a:lnTo>
                    <a:pt x="1251565" y="454127"/>
                  </a:lnTo>
                  <a:lnTo>
                    <a:pt x="1263223" y="498560"/>
                  </a:lnTo>
                  <a:lnTo>
                    <a:pt x="1271703" y="544191"/>
                  </a:lnTo>
                  <a:lnTo>
                    <a:pt x="1276882" y="590898"/>
                  </a:lnTo>
                  <a:lnTo>
                    <a:pt x="1278636" y="638555"/>
                  </a:lnTo>
                  <a:lnTo>
                    <a:pt x="1276882" y="686213"/>
                  </a:lnTo>
                  <a:lnTo>
                    <a:pt x="1271703" y="732920"/>
                  </a:lnTo>
                  <a:lnTo>
                    <a:pt x="1263223" y="778551"/>
                  </a:lnTo>
                  <a:lnTo>
                    <a:pt x="1251565" y="822984"/>
                  </a:lnTo>
                  <a:lnTo>
                    <a:pt x="1236854" y="866095"/>
                  </a:lnTo>
                  <a:lnTo>
                    <a:pt x="1219212" y="907761"/>
                  </a:lnTo>
                  <a:lnTo>
                    <a:pt x="1198763" y="947858"/>
                  </a:lnTo>
                  <a:lnTo>
                    <a:pt x="1175631" y="986262"/>
                  </a:lnTo>
                  <a:lnTo>
                    <a:pt x="1149940" y="1022851"/>
                  </a:lnTo>
                  <a:lnTo>
                    <a:pt x="1121813" y="1057501"/>
                  </a:lnTo>
                  <a:lnTo>
                    <a:pt x="1091374" y="1090088"/>
                  </a:lnTo>
                  <a:lnTo>
                    <a:pt x="1058747" y="1120489"/>
                  </a:lnTo>
                  <a:lnTo>
                    <a:pt x="1024055" y="1148581"/>
                  </a:lnTo>
                  <a:lnTo>
                    <a:pt x="987422" y="1174240"/>
                  </a:lnTo>
                  <a:lnTo>
                    <a:pt x="948971" y="1197342"/>
                  </a:lnTo>
                  <a:lnTo>
                    <a:pt x="908827" y="1217765"/>
                  </a:lnTo>
                  <a:lnTo>
                    <a:pt x="867112" y="1235384"/>
                  </a:lnTo>
                  <a:lnTo>
                    <a:pt x="823952" y="1250077"/>
                  </a:lnTo>
                  <a:lnTo>
                    <a:pt x="779468" y="1261719"/>
                  </a:lnTo>
                  <a:lnTo>
                    <a:pt x="733785" y="1270188"/>
                  </a:lnTo>
                  <a:lnTo>
                    <a:pt x="687027" y="1275360"/>
                  </a:lnTo>
                  <a:lnTo>
                    <a:pt x="639317" y="1277112"/>
                  </a:lnTo>
                  <a:lnTo>
                    <a:pt x="591608" y="1275360"/>
                  </a:lnTo>
                  <a:lnTo>
                    <a:pt x="544850" y="1270188"/>
                  </a:lnTo>
                  <a:lnTo>
                    <a:pt x="499167" y="1261719"/>
                  </a:lnTo>
                  <a:lnTo>
                    <a:pt x="454683" y="1250077"/>
                  </a:lnTo>
                  <a:lnTo>
                    <a:pt x="411523" y="1235384"/>
                  </a:lnTo>
                  <a:lnTo>
                    <a:pt x="369808" y="1217765"/>
                  </a:lnTo>
                  <a:lnTo>
                    <a:pt x="329664" y="1197342"/>
                  </a:lnTo>
                  <a:lnTo>
                    <a:pt x="291213" y="1174240"/>
                  </a:lnTo>
                  <a:lnTo>
                    <a:pt x="254580" y="1148581"/>
                  </a:lnTo>
                  <a:lnTo>
                    <a:pt x="219888" y="1120489"/>
                  </a:lnTo>
                  <a:lnTo>
                    <a:pt x="187261" y="1090088"/>
                  </a:lnTo>
                  <a:lnTo>
                    <a:pt x="156822" y="1057501"/>
                  </a:lnTo>
                  <a:lnTo>
                    <a:pt x="128695" y="1022851"/>
                  </a:lnTo>
                  <a:lnTo>
                    <a:pt x="103004" y="986262"/>
                  </a:lnTo>
                  <a:lnTo>
                    <a:pt x="79872" y="947858"/>
                  </a:lnTo>
                  <a:lnTo>
                    <a:pt x="59423" y="907761"/>
                  </a:lnTo>
                  <a:lnTo>
                    <a:pt x="41781" y="866095"/>
                  </a:lnTo>
                  <a:lnTo>
                    <a:pt x="27070" y="822984"/>
                  </a:lnTo>
                  <a:lnTo>
                    <a:pt x="15412" y="778551"/>
                  </a:lnTo>
                  <a:lnTo>
                    <a:pt x="6932" y="732920"/>
                  </a:lnTo>
                  <a:lnTo>
                    <a:pt x="1753" y="686213"/>
                  </a:lnTo>
                  <a:lnTo>
                    <a:pt x="0" y="638555"/>
                  </a:lnTo>
                  <a:lnTo>
                    <a:pt x="2217" y="585401"/>
                  </a:lnTo>
                  <a:lnTo>
                    <a:pt x="8812" y="532886"/>
                  </a:lnTo>
                  <a:lnTo>
                    <a:pt x="19696" y="481266"/>
                  </a:lnTo>
                  <a:lnTo>
                    <a:pt x="34782" y="430799"/>
                  </a:lnTo>
                  <a:lnTo>
                    <a:pt x="53981" y="381744"/>
                  </a:lnTo>
                  <a:lnTo>
                    <a:pt x="77206" y="334357"/>
                  </a:lnTo>
                  <a:lnTo>
                    <a:pt x="104368" y="288895"/>
                  </a:lnTo>
                  <a:lnTo>
                    <a:pt x="135382" y="245617"/>
                  </a:lnTo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56" name="object 19">
              <a:extLst>
                <a:ext uri="{FF2B5EF4-FFF2-40B4-BE49-F238E27FC236}">
                  <a16:creationId xmlns:a16="http://schemas.microsoft.com/office/drawing/2014/main" id="{74FC72E0-763F-475B-885C-2CC6968DC99B}"/>
                </a:ext>
              </a:extLst>
            </p:cNvPr>
            <p:cNvSpPr/>
            <p:nvPr/>
          </p:nvSpPr>
          <p:spPr>
            <a:xfrm>
              <a:off x="4111752" y="1822704"/>
              <a:ext cx="772795" cy="1082675"/>
            </a:xfrm>
            <a:custGeom>
              <a:avLst/>
              <a:gdLst/>
              <a:ahLst/>
              <a:cxnLst/>
              <a:rect l="l" t="t" r="r" b="b"/>
              <a:pathLst>
                <a:path w="772795" h="1082675">
                  <a:moveTo>
                    <a:pt x="0" y="0"/>
                  </a:moveTo>
                  <a:lnTo>
                    <a:pt x="48863" y="1521"/>
                  </a:lnTo>
                  <a:lnTo>
                    <a:pt x="96919" y="6026"/>
                  </a:lnTo>
                  <a:lnTo>
                    <a:pt x="144077" y="13424"/>
                  </a:lnTo>
                  <a:lnTo>
                    <a:pt x="190246" y="23624"/>
                  </a:lnTo>
                  <a:lnTo>
                    <a:pt x="235337" y="36535"/>
                  </a:lnTo>
                  <a:lnTo>
                    <a:pt x="279258" y="52067"/>
                  </a:lnTo>
                  <a:lnTo>
                    <a:pt x="321919" y="70128"/>
                  </a:lnTo>
                  <a:lnTo>
                    <a:pt x="363229" y="90629"/>
                  </a:lnTo>
                  <a:lnTo>
                    <a:pt x="403098" y="113479"/>
                  </a:lnTo>
                  <a:lnTo>
                    <a:pt x="441436" y="138587"/>
                  </a:lnTo>
                  <a:lnTo>
                    <a:pt x="478151" y="165862"/>
                  </a:lnTo>
                  <a:lnTo>
                    <a:pt x="513154" y="195214"/>
                  </a:lnTo>
                  <a:lnTo>
                    <a:pt x="546354" y="226552"/>
                  </a:lnTo>
                  <a:lnTo>
                    <a:pt x="577659" y="259785"/>
                  </a:lnTo>
                  <a:lnTo>
                    <a:pt x="606981" y="294823"/>
                  </a:lnTo>
                  <a:lnTo>
                    <a:pt x="634228" y="331575"/>
                  </a:lnTo>
                  <a:lnTo>
                    <a:pt x="659309" y="369951"/>
                  </a:lnTo>
                  <a:lnTo>
                    <a:pt x="682135" y="409859"/>
                  </a:lnTo>
                  <a:lnTo>
                    <a:pt x="702614" y="451210"/>
                  </a:lnTo>
                  <a:lnTo>
                    <a:pt x="720657" y="493912"/>
                  </a:lnTo>
                  <a:lnTo>
                    <a:pt x="736172" y="537875"/>
                  </a:lnTo>
                  <a:lnTo>
                    <a:pt x="749069" y="583008"/>
                  </a:lnTo>
                  <a:lnTo>
                    <a:pt x="759257" y="629221"/>
                  </a:lnTo>
                  <a:lnTo>
                    <a:pt x="766647" y="676422"/>
                  </a:lnTo>
                  <a:lnTo>
                    <a:pt x="771147" y="724522"/>
                  </a:lnTo>
                  <a:lnTo>
                    <a:pt x="772668" y="773430"/>
                  </a:lnTo>
                  <a:lnTo>
                    <a:pt x="770853" y="826453"/>
                  </a:lnTo>
                  <a:lnTo>
                    <a:pt x="765433" y="879103"/>
                  </a:lnTo>
                  <a:lnTo>
                    <a:pt x="756443" y="931195"/>
                  </a:lnTo>
                  <a:lnTo>
                    <a:pt x="743918" y="982547"/>
                  </a:lnTo>
                  <a:lnTo>
                    <a:pt x="727894" y="1032974"/>
                  </a:lnTo>
                  <a:lnTo>
                    <a:pt x="708406" y="1082294"/>
                  </a:lnTo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57" name="object 40">
              <a:extLst>
                <a:ext uri="{FF2B5EF4-FFF2-40B4-BE49-F238E27FC236}">
                  <a16:creationId xmlns:a16="http://schemas.microsoft.com/office/drawing/2014/main" id="{59F3CD5D-48A2-416D-9DE0-95DCB69415F1}"/>
                </a:ext>
              </a:extLst>
            </p:cNvPr>
            <p:cNvSpPr/>
            <p:nvPr/>
          </p:nvSpPr>
          <p:spPr>
            <a:xfrm>
              <a:off x="3547109" y="2032254"/>
              <a:ext cx="1130935" cy="1130935"/>
            </a:xfrm>
            <a:custGeom>
              <a:avLst/>
              <a:gdLst/>
              <a:ahLst/>
              <a:cxnLst/>
              <a:rect l="l" t="t" r="r" b="b"/>
              <a:pathLst>
                <a:path w="1130935" h="1130935">
                  <a:moveTo>
                    <a:pt x="565403" y="0"/>
                  </a:moveTo>
                  <a:lnTo>
                    <a:pt x="516614" y="2075"/>
                  </a:lnTo>
                  <a:lnTo>
                    <a:pt x="468978" y="8187"/>
                  </a:lnTo>
                  <a:lnTo>
                    <a:pt x="422665" y="18167"/>
                  </a:lnTo>
                  <a:lnTo>
                    <a:pt x="377844" y="31845"/>
                  </a:lnTo>
                  <a:lnTo>
                    <a:pt x="334686" y="49051"/>
                  </a:lnTo>
                  <a:lnTo>
                    <a:pt x="293360" y="69615"/>
                  </a:lnTo>
                  <a:lnTo>
                    <a:pt x="254034" y="93369"/>
                  </a:lnTo>
                  <a:lnTo>
                    <a:pt x="216881" y="120142"/>
                  </a:lnTo>
                  <a:lnTo>
                    <a:pt x="182067" y="149765"/>
                  </a:lnTo>
                  <a:lnTo>
                    <a:pt x="149765" y="182067"/>
                  </a:lnTo>
                  <a:lnTo>
                    <a:pt x="120142" y="216881"/>
                  </a:lnTo>
                  <a:lnTo>
                    <a:pt x="93369" y="254034"/>
                  </a:lnTo>
                  <a:lnTo>
                    <a:pt x="69615" y="293360"/>
                  </a:lnTo>
                  <a:lnTo>
                    <a:pt x="49051" y="334686"/>
                  </a:lnTo>
                  <a:lnTo>
                    <a:pt x="31845" y="377844"/>
                  </a:lnTo>
                  <a:lnTo>
                    <a:pt x="18167" y="422665"/>
                  </a:lnTo>
                  <a:lnTo>
                    <a:pt x="8187" y="468978"/>
                  </a:lnTo>
                  <a:lnTo>
                    <a:pt x="2075" y="516614"/>
                  </a:lnTo>
                  <a:lnTo>
                    <a:pt x="0" y="565404"/>
                  </a:lnTo>
                  <a:lnTo>
                    <a:pt x="2075" y="614193"/>
                  </a:lnTo>
                  <a:lnTo>
                    <a:pt x="8187" y="661829"/>
                  </a:lnTo>
                  <a:lnTo>
                    <a:pt x="18167" y="708142"/>
                  </a:lnTo>
                  <a:lnTo>
                    <a:pt x="31845" y="752963"/>
                  </a:lnTo>
                  <a:lnTo>
                    <a:pt x="49051" y="796121"/>
                  </a:lnTo>
                  <a:lnTo>
                    <a:pt x="69615" y="837447"/>
                  </a:lnTo>
                  <a:lnTo>
                    <a:pt x="93369" y="876773"/>
                  </a:lnTo>
                  <a:lnTo>
                    <a:pt x="120142" y="913926"/>
                  </a:lnTo>
                  <a:lnTo>
                    <a:pt x="149765" y="948740"/>
                  </a:lnTo>
                  <a:lnTo>
                    <a:pt x="182067" y="981042"/>
                  </a:lnTo>
                  <a:lnTo>
                    <a:pt x="216881" y="1010665"/>
                  </a:lnTo>
                  <a:lnTo>
                    <a:pt x="254034" y="1037438"/>
                  </a:lnTo>
                  <a:lnTo>
                    <a:pt x="293360" y="1061192"/>
                  </a:lnTo>
                  <a:lnTo>
                    <a:pt x="334686" y="1081756"/>
                  </a:lnTo>
                  <a:lnTo>
                    <a:pt x="377844" y="1098962"/>
                  </a:lnTo>
                  <a:lnTo>
                    <a:pt x="422665" y="1112640"/>
                  </a:lnTo>
                  <a:lnTo>
                    <a:pt x="468978" y="1122620"/>
                  </a:lnTo>
                  <a:lnTo>
                    <a:pt x="516614" y="1128732"/>
                  </a:lnTo>
                  <a:lnTo>
                    <a:pt x="565403" y="1130808"/>
                  </a:lnTo>
                  <a:lnTo>
                    <a:pt x="614193" y="1128732"/>
                  </a:lnTo>
                  <a:lnTo>
                    <a:pt x="661829" y="1122620"/>
                  </a:lnTo>
                  <a:lnTo>
                    <a:pt x="708142" y="1112640"/>
                  </a:lnTo>
                  <a:lnTo>
                    <a:pt x="752963" y="1098962"/>
                  </a:lnTo>
                  <a:lnTo>
                    <a:pt x="796121" y="1081756"/>
                  </a:lnTo>
                  <a:lnTo>
                    <a:pt x="837447" y="1061192"/>
                  </a:lnTo>
                  <a:lnTo>
                    <a:pt x="876773" y="1037438"/>
                  </a:lnTo>
                  <a:lnTo>
                    <a:pt x="913926" y="1010665"/>
                  </a:lnTo>
                  <a:lnTo>
                    <a:pt x="948740" y="981042"/>
                  </a:lnTo>
                  <a:lnTo>
                    <a:pt x="981042" y="948740"/>
                  </a:lnTo>
                  <a:lnTo>
                    <a:pt x="1010665" y="913926"/>
                  </a:lnTo>
                  <a:lnTo>
                    <a:pt x="1037438" y="876773"/>
                  </a:lnTo>
                  <a:lnTo>
                    <a:pt x="1061192" y="837447"/>
                  </a:lnTo>
                  <a:lnTo>
                    <a:pt x="1081756" y="796121"/>
                  </a:lnTo>
                  <a:lnTo>
                    <a:pt x="1098962" y="752963"/>
                  </a:lnTo>
                  <a:lnTo>
                    <a:pt x="1112640" y="708142"/>
                  </a:lnTo>
                  <a:lnTo>
                    <a:pt x="1122620" y="661829"/>
                  </a:lnTo>
                  <a:lnTo>
                    <a:pt x="1128732" y="614193"/>
                  </a:lnTo>
                  <a:lnTo>
                    <a:pt x="1130807" y="565404"/>
                  </a:lnTo>
                  <a:lnTo>
                    <a:pt x="1128732" y="516614"/>
                  </a:lnTo>
                  <a:lnTo>
                    <a:pt x="1122620" y="468978"/>
                  </a:lnTo>
                  <a:lnTo>
                    <a:pt x="1112640" y="422665"/>
                  </a:lnTo>
                  <a:lnTo>
                    <a:pt x="1098962" y="377844"/>
                  </a:lnTo>
                  <a:lnTo>
                    <a:pt x="1081756" y="334686"/>
                  </a:lnTo>
                  <a:lnTo>
                    <a:pt x="1061192" y="293360"/>
                  </a:lnTo>
                  <a:lnTo>
                    <a:pt x="1037438" y="254034"/>
                  </a:lnTo>
                  <a:lnTo>
                    <a:pt x="1010665" y="216881"/>
                  </a:lnTo>
                  <a:lnTo>
                    <a:pt x="981042" y="182067"/>
                  </a:lnTo>
                  <a:lnTo>
                    <a:pt x="948740" y="149765"/>
                  </a:lnTo>
                  <a:lnTo>
                    <a:pt x="913926" y="120142"/>
                  </a:lnTo>
                  <a:lnTo>
                    <a:pt x="876773" y="93369"/>
                  </a:lnTo>
                  <a:lnTo>
                    <a:pt x="837447" y="69615"/>
                  </a:lnTo>
                  <a:lnTo>
                    <a:pt x="796121" y="49051"/>
                  </a:lnTo>
                  <a:lnTo>
                    <a:pt x="752963" y="31845"/>
                  </a:lnTo>
                  <a:lnTo>
                    <a:pt x="708142" y="18167"/>
                  </a:lnTo>
                  <a:lnTo>
                    <a:pt x="661829" y="8187"/>
                  </a:lnTo>
                  <a:lnTo>
                    <a:pt x="614193" y="2075"/>
                  </a:lnTo>
                  <a:lnTo>
                    <a:pt x="565403" y="0"/>
                  </a:lnTo>
                  <a:close/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58" name="object 41">
              <a:extLst>
                <a:ext uri="{FF2B5EF4-FFF2-40B4-BE49-F238E27FC236}">
                  <a16:creationId xmlns:a16="http://schemas.microsoft.com/office/drawing/2014/main" id="{142C507C-25CB-4109-807F-DF71A3DB67AD}"/>
                </a:ext>
              </a:extLst>
            </p:cNvPr>
            <p:cNvSpPr/>
            <p:nvPr/>
          </p:nvSpPr>
          <p:spPr>
            <a:xfrm>
              <a:off x="3547109" y="2032254"/>
              <a:ext cx="1130935" cy="1130935"/>
            </a:xfrm>
            <a:custGeom>
              <a:avLst/>
              <a:gdLst/>
              <a:ahLst/>
              <a:cxnLst/>
              <a:rect l="l" t="t" r="r" b="b"/>
              <a:pathLst>
                <a:path w="1130935" h="1130935">
                  <a:moveTo>
                    <a:pt x="0" y="565404"/>
                  </a:moveTo>
                  <a:lnTo>
                    <a:pt x="2075" y="516614"/>
                  </a:lnTo>
                  <a:lnTo>
                    <a:pt x="8187" y="468978"/>
                  </a:lnTo>
                  <a:lnTo>
                    <a:pt x="18167" y="422665"/>
                  </a:lnTo>
                  <a:lnTo>
                    <a:pt x="31845" y="377844"/>
                  </a:lnTo>
                  <a:lnTo>
                    <a:pt x="49051" y="334686"/>
                  </a:lnTo>
                  <a:lnTo>
                    <a:pt x="69615" y="293360"/>
                  </a:lnTo>
                  <a:lnTo>
                    <a:pt x="93369" y="254034"/>
                  </a:lnTo>
                  <a:lnTo>
                    <a:pt x="120142" y="216881"/>
                  </a:lnTo>
                  <a:lnTo>
                    <a:pt x="149765" y="182067"/>
                  </a:lnTo>
                  <a:lnTo>
                    <a:pt x="182067" y="149765"/>
                  </a:lnTo>
                  <a:lnTo>
                    <a:pt x="216881" y="120142"/>
                  </a:lnTo>
                  <a:lnTo>
                    <a:pt x="254034" y="93369"/>
                  </a:lnTo>
                  <a:lnTo>
                    <a:pt x="293360" y="69615"/>
                  </a:lnTo>
                  <a:lnTo>
                    <a:pt x="334686" y="49051"/>
                  </a:lnTo>
                  <a:lnTo>
                    <a:pt x="377844" y="31845"/>
                  </a:lnTo>
                  <a:lnTo>
                    <a:pt x="422665" y="18167"/>
                  </a:lnTo>
                  <a:lnTo>
                    <a:pt x="468978" y="8187"/>
                  </a:lnTo>
                  <a:lnTo>
                    <a:pt x="516614" y="2075"/>
                  </a:lnTo>
                  <a:lnTo>
                    <a:pt x="565403" y="0"/>
                  </a:lnTo>
                  <a:lnTo>
                    <a:pt x="614193" y="2075"/>
                  </a:lnTo>
                  <a:lnTo>
                    <a:pt x="661829" y="8187"/>
                  </a:lnTo>
                  <a:lnTo>
                    <a:pt x="708142" y="18167"/>
                  </a:lnTo>
                  <a:lnTo>
                    <a:pt x="752963" y="31845"/>
                  </a:lnTo>
                  <a:lnTo>
                    <a:pt x="796121" y="49051"/>
                  </a:lnTo>
                  <a:lnTo>
                    <a:pt x="837447" y="69615"/>
                  </a:lnTo>
                  <a:lnTo>
                    <a:pt x="876773" y="93369"/>
                  </a:lnTo>
                  <a:lnTo>
                    <a:pt x="913926" y="120142"/>
                  </a:lnTo>
                  <a:lnTo>
                    <a:pt x="948740" y="149765"/>
                  </a:lnTo>
                  <a:lnTo>
                    <a:pt x="981042" y="182067"/>
                  </a:lnTo>
                  <a:lnTo>
                    <a:pt x="1010665" y="216881"/>
                  </a:lnTo>
                  <a:lnTo>
                    <a:pt x="1037438" y="254034"/>
                  </a:lnTo>
                  <a:lnTo>
                    <a:pt x="1061192" y="293360"/>
                  </a:lnTo>
                  <a:lnTo>
                    <a:pt x="1081756" y="334686"/>
                  </a:lnTo>
                  <a:lnTo>
                    <a:pt x="1098962" y="377844"/>
                  </a:lnTo>
                  <a:lnTo>
                    <a:pt x="1112640" y="422665"/>
                  </a:lnTo>
                  <a:lnTo>
                    <a:pt x="1122620" y="468978"/>
                  </a:lnTo>
                  <a:lnTo>
                    <a:pt x="1128732" y="516614"/>
                  </a:lnTo>
                  <a:lnTo>
                    <a:pt x="1130807" y="565404"/>
                  </a:lnTo>
                  <a:lnTo>
                    <a:pt x="1128732" y="614193"/>
                  </a:lnTo>
                  <a:lnTo>
                    <a:pt x="1122620" y="661829"/>
                  </a:lnTo>
                  <a:lnTo>
                    <a:pt x="1112640" y="708142"/>
                  </a:lnTo>
                  <a:lnTo>
                    <a:pt x="1098962" y="752963"/>
                  </a:lnTo>
                  <a:lnTo>
                    <a:pt x="1081756" y="796121"/>
                  </a:lnTo>
                  <a:lnTo>
                    <a:pt x="1061192" y="837447"/>
                  </a:lnTo>
                  <a:lnTo>
                    <a:pt x="1037438" y="876773"/>
                  </a:lnTo>
                  <a:lnTo>
                    <a:pt x="1010665" y="913926"/>
                  </a:lnTo>
                  <a:lnTo>
                    <a:pt x="981042" y="948740"/>
                  </a:lnTo>
                  <a:lnTo>
                    <a:pt x="948740" y="981042"/>
                  </a:lnTo>
                  <a:lnTo>
                    <a:pt x="913926" y="1010665"/>
                  </a:lnTo>
                  <a:lnTo>
                    <a:pt x="876773" y="1037438"/>
                  </a:lnTo>
                  <a:lnTo>
                    <a:pt x="837447" y="1061192"/>
                  </a:lnTo>
                  <a:lnTo>
                    <a:pt x="796121" y="1081756"/>
                  </a:lnTo>
                  <a:lnTo>
                    <a:pt x="752963" y="1098962"/>
                  </a:lnTo>
                  <a:lnTo>
                    <a:pt x="708142" y="1112640"/>
                  </a:lnTo>
                  <a:lnTo>
                    <a:pt x="661829" y="1122620"/>
                  </a:lnTo>
                  <a:lnTo>
                    <a:pt x="614193" y="1128732"/>
                  </a:lnTo>
                  <a:lnTo>
                    <a:pt x="565403" y="1130808"/>
                  </a:lnTo>
                  <a:lnTo>
                    <a:pt x="516614" y="1128732"/>
                  </a:lnTo>
                  <a:lnTo>
                    <a:pt x="468978" y="1122620"/>
                  </a:lnTo>
                  <a:lnTo>
                    <a:pt x="422665" y="1112640"/>
                  </a:lnTo>
                  <a:lnTo>
                    <a:pt x="377844" y="1098962"/>
                  </a:lnTo>
                  <a:lnTo>
                    <a:pt x="334686" y="1081756"/>
                  </a:lnTo>
                  <a:lnTo>
                    <a:pt x="293360" y="1061192"/>
                  </a:lnTo>
                  <a:lnTo>
                    <a:pt x="254034" y="1037438"/>
                  </a:lnTo>
                  <a:lnTo>
                    <a:pt x="216881" y="1010665"/>
                  </a:lnTo>
                  <a:lnTo>
                    <a:pt x="182067" y="981042"/>
                  </a:lnTo>
                  <a:lnTo>
                    <a:pt x="149765" y="948740"/>
                  </a:lnTo>
                  <a:lnTo>
                    <a:pt x="120142" y="913926"/>
                  </a:lnTo>
                  <a:lnTo>
                    <a:pt x="93369" y="876773"/>
                  </a:lnTo>
                  <a:lnTo>
                    <a:pt x="69615" y="837447"/>
                  </a:lnTo>
                  <a:lnTo>
                    <a:pt x="49051" y="796121"/>
                  </a:lnTo>
                  <a:lnTo>
                    <a:pt x="31845" y="752963"/>
                  </a:lnTo>
                  <a:lnTo>
                    <a:pt x="18167" y="708142"/>
                  </a:lnTo>
                  <a:lnTo>
                    <a:pt x="8187" y="661829"/>
                  </a:lnTo>
                  <a:lnTo>
                    <a:pt x="2075" y="614193"/>
                  </a:lnTo>
                  <a:lnTo>
                    <a:pt x="0" y="565404"/>
                  </a:lnTo>
                  <a:close/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35" name="object 69">
            <a:extLst>
              <a:ext uri="{FF2B5EF4-FFF2-40B4-BE49-F238E27FC236}">
                <a16:creationId xmlns:a16="http://schemas.microsoft.com/office/drawing/2014/main" id="{BD592B38-5313-4DC1-9F71-923A378A81C2}"/>
              </a:ext>
            </a:extLst>
          </p:cNvPr>
          <p:cNvSpPr/>
          <p:nvPr/>
        </p:nvSpPr>
        <p:spPr>
          <a:xfrm flipH="1">
            <a:off x="5313766" y="3656028"/>
            <a:ext cx="451180" cy="356436"/>
          </a:xfrm>
          <a:prstGeom prst="rect">
            <a:avLst/>
          </a:prstGeom>
          <a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36" name="object 74">
            <a:extLst>
              <a:ext uri="{FF2B5EF4-FFF2-40B4-BE49-F238E27FC236}">
                <a16:creationId xmlns:a16="http://schemas.microsoft.com/office/drawing/2014/main" id="{D25D4D2A-1104-4A77-B9CF-24FC5A081999}"/>
              </a:ext>
            </a:extLst>
          </p:cNvPr>
          <p:cNvSpPr/>
          <p:nvPr/>
        </p:nvSpPr>
        <p:spPr>
          <a:xfrm>
            <a:off x="5746999" y="3707888"/>
            <a:ext cx="182042" cy="204949"/>
          </a:xfrm>
          <a:prstGeom prst="rect">
            <a:avLst/>
          </a:prstGeom>
          <a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37" name="object 74">
            <a:extLst>
              <a:ext uri="{FF2B5EF4-FFF2-40B4-BE49-F238E27FC236}">
                <a16:creationId xmlns:a16="http://schemas.microsoft.com/office/drawing/2014/main" id="{F2793948-3991-4FE8-97B6-94A7AA4CF033}"/>
              </a:ext>
            </a:extLst>
          </p:cNvPr>
          <p:cNvSpPr/>
          <p:nvPr/>
        </p:nvSpPr>
        <p:spPr>
          <a:xfrm>
            <a:off x="5885009" y="3749488"/>
            <a:ext cx="182042" cy="204949"/>
          </a:xfrm>
          <a:prstGeom prst="rect">
            <a:avLst/>
          </a:prstGeom>
          <a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38" name="object 74">
            <a:extLst>
              <a:ext uri="{FF2B5EF4-FFF2-40B4-BE49-F238E27FC236}">
                <a16:creationId xmlns:a16="http://schemas.microsoft.com/office/drawing/2014/main" id="{1BA81406-C0A7-4C19-8A2F-6C5C708D7D52}"/>
              </a:ext>
            </a:extLst>
          </p:cNvPr>
          <p:cNvSpPr/>
          <p:nvPr/>
        </p:nvSpPr>
        <p:spPr>
          <a:xfrm>
            <a:off x="5755336" y="3825118"/>
            <a:ext cx="182042" cy="204949"/>
          </a:xfrm>
          <a:prstGeom prst="rect">
            <a:avLst/>
          </a:prstGeom>
          <a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8EA1352C-4C7C-43E3-A981-8244758C8778}"/>
              </a:ext>
            </a:extLst>
          </p:cNvPr>
          <p:cNvSpPr txBox="1"/>
          <p:nvPr/>
        </p:nvSpPr>
        <p:spPr>
          <a:xfrm>
            <a:off x="5299888" y="3417352"/>
            <a:ext cx="878045" cy="184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err="1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Leverandør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14458E5C-C0A2-4B42-92C1-A3BA1CEACA4A}"/>
              </a:ext>
            </a:extLst>
          </p:cNvPr>
          <p:cNvGrpSpPr/>
          <p:nvPr/>
        </p:nvGrpSpPr>
        <p:grpSpPr>
          <a:xfrm>
            <a:off x="7250315" y="1521875"/>
            <a:ext cx="1135897" cy="1187442"/>
            <a:chOff x="3467100" y="1822704"/>
            <a:chExt cx="1417447" cy="1481455"/>
          </a:xfrm>
        </p:grpSpPr>
        <p:sp>
          <p:nvSpPr>
            <p:cNvPr id="49" name="object 17">
              <a:extLst>
                <a:ext uri="{FF2B5EF4-FFF2-40B4-BE49-F238E27FC236}">
                  <a16:creationId xmlns:a16="http://schemas.microsoft.com/office/drawing/2014/main" id="{65B23D8B-79FA-4A6C-8F64-3687403E7966}"/>
                </a:ext>
              </a:extLst>
            </p:cNvPr>
            <p:cNvSpPr/>
            <p:nvPr/>
          </p:nvSpPr>
          <p:spPr>
            <a:xfrm>
              <a:off x="3550284" y="1898904"/>
              <a:ext cx="1259840" cy="1405255"/>
            </a:xfrm>
            <a:custGeom>
              <a:avLst/>
              <a:gdLst/>
              <a:ahLst/>
              <a:cxnLst/>
              <a:rect l="l" t="t" r="r" b="b"/>
              <a:pathLst>
                <a:path w="1259839" h="1405254">
                  <a:moveTo>
                    <a:pt x="556132" y="0"/>
                  </a:moveTo>
                  <a:lnTo>
                    <a:pt x="604293" y="1620"/>
                  </a:lnTo>
                  <a:lnTo>
                    <a:pt x="651582" y="6414"/>
                  </a:lnTo>
                  <a:lnTo>
                    <a:pt x="697894" y="14274"/>
                  </a:lnTo>
                  <a:lnTo>
                    <a:pt x="743124" y="25098"/>
                  </a:lnTo>
                  <a:lnTo>
                    <a:pt x="787169" y="38780"/>
                  </a:lnTo>
                  <a:lnTo>
                    <a:pt x="829923" y="55215"/>
                  </a:lnTo>
                  <a:lnTo>
                    <a:pt x="871281" y="74299"/>
                  </a:lnTo>
                  <a:lnTo>
                    <a:pt x="911140" y="95927"/>
                  </a:lnTo>
                  <a:lnTo>
                    <a:pt x="949394" y="119994"/>
                  </a:lnTo>
                  <a:lnTo>
                    <a:pt x="985938" y="146397"/>
                  </a:lnTo>
                  <a:lnTo>
                    <a:pt x="1020669" y="175029"/>
                  </a:lnTo>
                  <a:lnTo>
                    <a:pt x="1053480" y="205787"/>
                  </a:lnTo>
                  <a:lnTo>
                    <a:pt x="1084269" y="238566"/>
                  </a:lnTo>
                  <a:lnTo>
                    <a:pt x="1112929" y="273261"/>
                  </a:lnTo>
                  <a:lnTo>
                    <a:pt x="1139356" y="309767"/>
                  </a:lnTo>
                  <a:lnTo>
                    <a:pt x="1163447" y="347980"/>
                  </a:lnTo>
                  <a:lnTo>
                    <a:pt x="1185094" y="387794"/>
                  </a:lnTo>
                  <a:lnTo>
                    <a:pt x="1204196" y="429107"/>
                  </a:lnTo>
                  <a:lnTo>
                    <a:pt x="1220645" y="471812"/>
                  </a:lnTo>
                  <a:lnTo>
                    <a:pt x="1234339" y="515805"/>
                  </a:lnTo>
                  <a:lnTo>
                    <a:pt x="1245172" y="560981"/>
                  </a:lnTo>
                  <a:lnTo>
                    <a:pt x="1253039" y="607236"/>
                  </a:lnTo>
                  <a:lnTo>
                    <a:pt x="1257836" y="654465"/>
                  </a:lnTo>
                  <a:lnTo>
                    <a:pt x="1259459" y="702563"/>
                  </a:lnTo>
                  <a:lnTo>
                    <a:pt x="1257836" y="750662"/>
                  </a:lnTo>
                  <a:lnTo>
                    <a:pt x="1253039" y="797891"/>
                  </a:lnTo>
                  <a:lnTo>
                    <a:pt x="1245172" y="844146"/>
                  </a:lnTo>
                  <a:lnTo>
                    <a:pt x="1234339" y="889322"/>
                  </a:lnTo>
                  <a:lnTo>
                    <a:pt x="1220645" y="933315"/>
                  </a:lnTo>
                  <a:lnTo>
                    <a:pt x="1204196" y="976020"/>
                  </a:lnTo>
                  <a:lnTo>
                    <a:pt x="1185094" y="1017333"/>
                  </a:lnTo>
                  <a:lnTo>
                    <a:pt x="1163447" y="1057147"/>
                  </a:lnTo>
                  <a:lnTo>
                    <a:pt x="1139356" y="1095360"/>
                  </a:lnTo>
                  <a:lnTo>
                    <a:pt x="1112929" y="1131866"/>
                  </a:lnTo>
                  <a:lnTo>
                    <a:pt x="1084269" y="1166561"/>
                  </a:lnTo>
                  <a:lnTo>
                    <a:pt x="1053480" y="1199340"/>
                  </a:lnTo>
                  <a:lnTo>
                    <a:pt x="1020669" y="1230098"/>
                  </a:lnTo>
                  <a:lnTo>
                    <a:pt x="985938" y="1258730"/>
                  </a:lnTo>
                  <a:lnTo>
                    <a:pt x="949394" y="1285133"/>
                  </a:lnTo>
                  <a:lnTo>
                    <a:pt x="911140" y="1309200"/>
                  </a:lnTo>
                  <a:lnTo>
                    <a:pt x="871281" y="1330828"/>
                  </a:lnTo>
                  <a:lnTo>
                    <a:pt x="829923" y="1349912"/>
                  </a:lnTo>
                  <a:lnTo>
                    <a:pt x="787169" y="1366347"/>
                  </a:lnTo>
                  <a:lnTo>
                    <a:pt x="743124" y="1380029"/>
                  </a:lnTo>
                  <a:lnTo>
                    <a:pt x="697894" y="1390853"/>
                  </a:lnTo>
                  <a:lnTo>
                    <a:pt x="651582" y="1398713"/>
                  </a:lnTo>
                  <a:lnTo>
                    <a:pt x="604293" y="1403507"/>
                  </a:lnTo>
                  <a:lnTo>
                    <a:pt x="556132" y="1405128"/>
                  </a:lnTo>
                  <a:lnTo>
                    <a:pt x="506172" y="1403355"/>
                  </a:lnTo>
                  <a:lnTo>
                    <a:pt x="456808" y="1398092"/>
                  </a:lnTo>
                  <a:lnTo>
                    <a:pt x="408205" y="1389418"/>
                  </a:lnTo>
                  <a:lnTo>
                    <a:pt x="360525" y="1377414"/>
                  </a:lnTo>
                  <a:lnTo>
                    <a:pt x="313933" y="1362159"/>
                  </a:lnTo>
                  <a:lnTo>
                    <a:pt x="268593" y="1343733"/>
                  </a:lnTo>
                  <a:lnTo>
                    <a:pt x="224667" y="1322217"/>
                  </a:lnTo>
                  <a:lnTo>
                    <a:pt x="182321" y="1297691"/>
                  </a:lnTo>
                  <a:lnTo>
                    <a:pt x="141717" y="1270235"/>
                  </a:lnTo>
                  <a:lnTo>
                    <a:pt x="103019" y="1239929"/>
                  </a:lnTo>
                  <a:lnTo>
                    <a:pt x="66391" y="1206853"/>
                  </a:lnTo>
                  <a:lnTo>
                    <a:pt x="31997" y="1171088"/>
                  </a:lnTo>
                  <a:lnTo>
                    <a:pt x="0" y="1132713"/>
                  </a:lnTo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50" name="object 18">
              <a:extLst>
                <a:ext uri="{FF2B5EF4-FFF2-40B4-BE49-F238E27FC236}">
                  <a16:creationId xmlns:a16="http://schemas.microsoft.com/office/drawing/2014/main" id="{23B572A4-7DCB-4EDC-8F47-5E10B70D2F11}"/>
                </a:ext>
              </a:extLst>
            </p:cNvPr>
            <p:cNvSpPr/>
            <p:nvPr/>
          </p:nvSpPr>
          <p:spPr>
            <a:xfrm>
              <a:off x="3467100" y="1962911"/>
              <a:ext cx="1278890" cy="1277620"/>
            </a:xfrm>
            <a:custGeom>
              <a:avLst/>
              <a:gdLst/>
              <a:ahLst/>
              <a:cxnLst/>
              <a:rect l="l" t="t" r="r" b="b"/>
              <a:pathLst>
                <a:path w="1278889" h="1277620">
                  <a:moveTo>
                    <a:pt x="639317" y="0"/>
                  </a:moveTo>
                  <a:lnTo>
                    <a:pt x="687027" y="1751"/>
                  </a:lnTo>
                  <a:lnTo>
                    <a:pt x="733785" y="6923"/>
                  </a:lnTo>
                  <a:lnTo>
                    <a:pt x="779468" y="15392"/>
                  </a:lnTo>
                  <a:lnTo>
                    <a:pt x="823952" y="27034"/>
                  </a:lnTo>
                  <a:lnTo>
                    <a:pt x="867112" y="41727"/>
                  </a:lnTo>
                  <a:lnTo>
                    <a:pt x="908827" y="59346"/>
                  </a:lnTo>
                  <a:lnTo>
                    <a:pt x="948971" y="79769"/>
                  </a:lnTo>
                  <a:lnTo>
                    <a:pt x="987422" y="102871"/>
                  </a:lnTo>
                  <a:lnTo>
                    <a:pt x="1024055" y="128530"/>
                  </a:lnTo>
                  <a:lnTo>
                    <a:pt x="1058747" y="156622"/>
                  </a:lnTo>
                  <a:lnTo>
                    <a:pt x="1091374" y="187023"/>
                  </a:lnTo>
                  <a:lnTo>
                    <a:pt x="1121813" y="219610"/>
                  </a:lnTo>
                  <a:lnTo>
                    <a:pt x="1149940" y="254260"/>
                  </a:lnTo>
                  <a:lnTo>
                    <a:pt x="1175631" y="290849"/>
                  </a:lnTo>
                  <a:lnTo>
                    <a:pt x="1198763" y="329253"/>
                  </a:lnTo>
                  <a:lnTo>
                    <a:pt x="1219212" y="369350"/>
                  </a:lnTo>
                  <a:lnTo>
                    <a:pt x="1236854" y="411016"/>
                  </a:lnTo>
                  <a:lnTo>
                    <a:pt x="1251565" y="454127"/>
                  </a:lnTo>
                  <a:lnTo>
                    <a:pt x="1263223" y="498560"/>
                  </a:lnTo>
                  <a:lnTo>
                    <a:pt x="1271703" y="544191"/>
                  </a:lnTo>
                  <a:lnTo>
                    <a:pt x="1276882" y="590898"/>
                  </a:lnTo>
                  <a:lnTo>
                    <a:pt x="1278636" y="638555"/>
                  </a:lnTo>
                  <a:lnTo>
                    <a:pt x="1276882" y="686213"/>
                  </a:lnTo>
                  <a:lnTo>
                    <a:pt x="1271703" y="732920"/>
                  </a:lnTo>
                  <a:lnTo>
                    <a:pt x="1263223" y="778551"/>
                  </a:lnTo>
                  <a:lnTo>
                    <a:pt x="1251565" y="822984"/>
                  </a:lnTo>
                  <a:lnTo>
                    <a:pt x="1236854" y="866095"/>
                  </a:lnTo>
                  <a:lnTo>
                    <a:pt x="1219212" y="907761"/>
                  </a:lnTo>
                  <a:lnTo>
                    <a:pt x="1198763" y="947858"/>
                  </a:lnTo>
                  <a:lnTo>
                    <a:pt x="1175631" y="986262"/>
                  </a:lnTo>
                  <a:lnTo>
                    <a:pt x="1149940" y="1022851"/>
                  </a:lnTo>
                  <a:lnTo>
                    <a:pt x="1121813" y="1057501"/>
                  </a:lnTo>
                  <a:lnTo>
                    <a:pt x="1091374" y="1090088"/>
                  </a:lnTo>
                  <a:lnTo>
                    <a:pt x="1058747" y="1120489"/>
                  </a:lnTo>
                  <a:lnTo>
                    <a:pt x="1024055" y="1148581"/>
                  </a:lnTo>
                  <a:lnTo>
                    <a:pt x="987422" y="1174240"/>
                  </a:lnTo>
                  <a:lnTo>
                    <a:pt x="948971" y="1197342"/>
                  </a:lnTo>
                  <a:lnTo>
                    <a:pt x="908827" y="1217765"/>
                  </a:lnTo>
                  <a:lnTo>
                    <a:pt x="867112" y="1235384"/>
                  </a:lnTo>
                  <a:lnTo>
                    <a:pt x="823952" y="1250077"/>
                  </a:lnTo>
                  <a:lnTo>
                    <a:pt x="779468" y="1261719"/>
                  </a:lnTo>
                  <a:lnTo>
                    <a:pt x="733785" y="1270188"/>
                  </a:lnTo>
                  <a:lnTo>
                    <a:pt x="687027" y="1275360"/>
                  </a:lnTo>
                  <a:lnTo>
                    <a:pt x="639317" y="1277112"/>
                  </a:lnTo>
                  <a:lnTo>
                    <a:pt x="591608" y="1275360"/>
                  </a:lnTo>
                  <a:lnTo>
                    <a:pt x="544850" y="1270188"/>
                  </a:lnTo>
                  <a:lnTo>
                    <a:pt x="499167" y="1261719"/>
                  </a:lnTo>
                  <a:lnTo>
                    <a:pt x="454683" y="1250077"/>
                  </a:lnTo>
                  <a:lnTo>
                    <a:pt x="411523" y="1235384"/>
                  </a:lnTo>
                  <a:lnTo>
                    <a:pt x="369808" y="1217765"/>
                  </a:lnTo>
                  <a:lnTo>
                    <a:pt x="329664" y="1197342"/>
                  </a:lnTo>
                  <a:lnTo>
                    <a:pt x="291213" y="1174240"/>
                  </a:lnTo>
                  <a:lnTo>
                    <a:pt x="254580" y="1148581"/>
                  </a:lnTo>
                  <a:lnTo>
                    <a:pt x="219888" y="1120489"/>
                  </a:lnTo>
                  <a:lnTo>
                    <a:pt x="187261" y="1090088"/>
                  </a:lnTo>
                  <a:lnTo>
                    <a:pt x="156822" y="1057501"/>
                  </a:lnTo>
                  <a:lnTo>
                    <a:pt x="128695" y="1022851"/>
                  </a:lnTo>
                  <a:lnTo>
                    <a:pt x="103004" y="986262"/>
                  </a:lnTo>
                  <a:lnTo>
                    <a:pt x="79872" y="947858"/>
                  </a:lnTo>
                  <a:lnTo>
                    <a:pt x="59423" y="907761"/>
                  </a:lnTo>
                  <a:lnTo>
                    <a:pt x="41781" y="866095"/>
                  </a:lnTo>
                  <a:lnTo>
                    <a:pt x="27070" y="822984"/>
                  </a:lnTo>
                  <a:lnTo>
                    <a:pt x="15412" y="778551"/>
                  </a:lnTo>
                  <a:lnTo>
                    <a:pt x="6932" y="732920"/>
                  </a:lnTo>
                  <a:lnTo>
                    <a:pt x="1753" y="686213"/>
                  </a:lnTo>
                  <a:lnTo>
                    <a:pt x="0" y="638555"/>
                  </a:lnTo>
                  <a:lnTo>
                    <a:pt x="2217" y="585401"/>
                  </a:lnTo>
                  <a:lnTo>
                    <a:pt x="8812" y="532886"/>
                  </a:lnTo>
                  <a:lnTo>
                    <a:pt x="19696" y="481266"/>
                  </a:lnTo>
                  <a:lnTo>
                    <a:pt x="34782" y="430799"/>
                  </a:lnTo>
                  <a:lnTo>
                    <a:pt x="53981" y="381744"/>
                  </a:lnTo>
                  <a:lnTo>
                    <a:pt x="77206" y="334357"/>
                  </a:lnTo>
                  <a:lnTo>
                    <a:pt x="104368" y="288895"/>
                  </a:lnTo>
                  <a:lnTo>
                    <a:pt x="135382" y="245617"/>
                  </a:lnTo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51" name="object 19">
              <a:extLst>
                <a:ext uri="{FF2B5EF4-FFF2-40B4-BE49-F238E27FC236}">
                  <a16:creationId xmlns:a16="http://schemas.microsoft.com/office/drawing/2014/main" id="{1C32FC2F-0FD7-4B18-BBA7-AE526708D939}"/>
                </a:ext>
              </a:extLst>
            </p:cNvPr>
            <p:cNvSpPr/>
            <p:nvPr/>
          </p:nvSpPr>
          <p:spPr>
            <a:xfrm>
              <a:off x="4111752" y="1822704"/>
              <a:ext cx="772795" cy="1082675"/>
            </a:xfrm>
            <a:custGeom>
              <a:avLst/>
              <a:gdLst/>
              <a:ahLst/>
              <a:cxnLst/>
              <a:rect l="l" t="t" r="r" b="b"/>
              <a:pathLst>
                <a:path w="772795" h="1082675">
                  <a:moveTo>
                    <a:pt x="0" y="0"/>
                  </a:moveTo>
                  <a:lnTo>
                    <a:pt x="48863" y="1521"/>
                  </a:lnTo>
                  <a:lnTo>
                    <a:pt x="96919" y="6026"/>
                  </a:lnTo>
                  <a:lnTo>
                    <a:pt x="144077" y="13424"/>
                  </a:lnTo>
                  <a:lnTo>
                    <a:pt x="190246" y="23624"/>
                  </a:lnTo>
                  <a:lnTo>
                    <a:pt x="235337" y="36535"/>
                  </a:lnTo>
                  <a:lnTo>
                    <a:pt x="279258" y="52067"/>
                  </a:lnTo>
                  <a:lnTo>
                    <a:pt x="321919" y="70128"/>
                  </a:lnTo>
                  <a:lnTo>
                    <a:pt x="363229" y="90629"/>
                  </a:lnTo>
                  <a:lnTo>
                    <a:pt x="403098" y="113479"/>
                  </a:lnTo>
                  <a:lnTo>
                    <a:pt x="441436" y="138587"/>
                  </a:lnTo>
                  <a:lnTo>
                    <a:pt x="478151" y="165862"/>
                  </a:lnTo>
                  <a:lnTo>
                    <a:pt x="513154" y="195214"/>
                  </a:lnTo>
                  <a:lnTo>
                    <a:pt x="546354" y="226552"/>
                  </a:lnTo>
                  <a:lnTo>
                    <a:pt x="577659" y="259785"/>
                  </a:lnTo>
                  <a:lnTo>
                    <a:pt x="606981" y="294823"/>
                  </a:lnTo>
                  <a:lnTo>
                    <a:pt x="634228" y="331575"/>
                  </a:lnTo>
                  <a:lnTo>
                    <a:pt x="659309" y="369951"/>
                  </a:lnTo>
                  <a:lnTo>
                    <a:pt x="682135" y="409859"/>
                  </a:lnTo>
                  <a:lnTo>
                    <a:pt x="702614" y="451210"/>
                  </a:lnTo>
                  <a:lnTo>
                    <a:pt x="720657" y="493912"/>
                  </a:lnTo>
                  <a:lnTo>
                    <a:pt x="736172" y="537875"/>
                  </a:lnTo>
                  <a:lnTo>
                    <a:pt x="749069" y="583008"/>
                  </a:lnTo>
                  <a:lnTo>
                    <a:pt x="759257" y="629221"/>
                  </a:lnTo>
                  <a:lnTo>
                    <a:pt x="766647" y="676422"/>
                  </a:lnTo>
                  <a:lnTo>
                    <a:pt x="771147" y="724522"/>
                  </a:lnTo>
                  <a:lnTo>
                    <a:pt x="772668" y="773430"/>
                  </a:lnTo>
                  <a:lnTo>
                    <a:pt x="770853" y="826453"/>
                  </a:lnTo>
                  <a:lnTo>
                    <a:pt x="765433" y="879103"/>
                  </a:lnTo>
                  <a:lnTo>
                    <a:pt x="756443" y="931195"/>
                  </a:lnTo>
                  <a:lnTo>
                    <a:pt x="743918" y="982547"/>
                  </a:lnTo>
                  <a:lnTo>
                    <a:pt x="727894" y="1032974"/>
                  </a:lnTo>
                  <a:lnTo>
                    <a:pt x="708406" y="1082294"/>
                  </a:lnTo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52" name="object 40">
              <a:extLst>
                <a:ext uri="{FF2B5EF4-FFF2-40B4-BE49-F238E27FC236}">
                  <a16:creationId xmlns:a16="http://schemas.microsoft.com/office/drawing/2014/main" id="{7EF63173-29AE-4530-ABC4-DAAE69C69A00}"/>
                </a:ext>
              </a:extLst>
            </p:cNvPr>
            <p:cNvSpPr/>
            <p:nvPr/>
          </p:nvSpPr>
          <p:spPr>
            <a:xfrm>
              <a:off x="3547109" y="2032254"/>
              <a:ext cx="1130935" cy="1130935"/>
            </a:xfrm>
            <a:custGeom>
              <a:avLst/>
              <a:gdLst/>
              <a:ahLst/>
              <a:cxnLst/>
              <a:rect l="l" t="t" r="r" b="b"/>
              <a:pathLst>
                <a:path w="1130935" h="1130935">
                  <a:moveTo>
                    <a:pt x="565403" y="0"/>
                  </a:moveTo>
                  <a:lnTo>
                    <a:pt x="516614" y="2075"/>
                  </a:lnTo>
                  <a:lnTo>
                    <a:pt x="468978" y="8187"/>
                  </a:lnTo>
                  <a:lnTo>
                    <a:pt x="422665" y="18167"/>
                  </a:lnTo>
                  <a:lnTo>
                    <a:pt x="377844" y="31845"/>
                  </a:lnTo>
                  <a:lnTo>
                    <a:pt x="334686" y="49051"/>
                  </a:lnTo>
                  <a:lnTo>
                    <a:pt x="293360" y="69615"/>
                  </a:lnTo>
                  <a:lnTo>
                    <a:pt x="254034" y="93369"/>
                  </a:lnTo>
                  <a:lnTo>
                    <a:pt x="216881" y="120142"/>
                  </a:lnTo>
                  <a:lnTo>
                    <a:pt x="182067" y="149765"/>
                  </a:lnTo>
                  <a:lnTo>
                    <a:pt x="149765" y="182067"/>
                  </a:lnTo>
                  <a:lnTo>
                    <a:pt x="120142" y="216881"/>
                  </a:lnTo>
                  <a:lnTo>
                    <a:pt x="93369" y="254034"/>
                  </a:lnTo>
                  <a:lnTo>
                    <a:pt x="69615" y="293360"/>
                  </a:lnTo>
                  <a:lnTo>
                    <a:pt x="49051" y="334686"/>
                  </a:lnTo>
                  <a:lnTo>
                    <a:pt x="31845" y="377844"/>
                  </a:lnTo>
                  <a:lnTo>
                    <a:pt x="18167" y="422665"/>
                  </a:lnTo>
                  <a:lnTo>
                    <a:pt x="8187" y="468978"/>
                  </a:lnTo>
                  <a:lnTo>
                    <a:pt x="2075" y="516614"/>
                  </a:lnTo>
                  <a:lnTo>
                    <a:pt x="0" y="565404"/>
                  </a:lnTo>
                  <a:lnTo>
                    <a:pt x="2075" y="614193"/>
                  </a:lnTo>
                  <a:lnTo>
                    <a:pt x="8187" y="661829"/>
                  </a:lnTo>
                  <a:lnTo>
                    <a:pt x="18167" y="708142"/>
                  </a:lnTo>
                  <a:lnTo>
                    <a:pt x="31845" y="752963"/>
                  </a:lnTo>
                  <a:lnTo>
                    <a:pt x="49051" y="796121"/>
                  </a:lnTo>
                  <a:lnTo>
                    <a:pt x="69615" y="837447"/>
                  </a:lnTo>
                  <a:lnTo>
                    <a:pt x="93369" y="876773"/>
                  </a:lnTo>
                  <a:lnTo>
                    <a:pt x="120142" y="913926"/>
                  </a:lnTo>
                  <a:lnTo>
                    <a:pt x="149765" y="948740"/>
                  </a:lnTo>
                  <a:lnTo>
                    <a:pt x="182067" y="981042"/>
                  </a:lnTo>
                  <a:lnTo>
                    <a:pt x="216881" y="1010665"/>
                  </a:lnTo>
                  <a:lnTo>
                    <a:pt x="254034" y="1037438"/>
                  </a:lnTo>
                  <a:lnTo>
                    <a:pt x="293360" y="1061192"/>
                  </a:lnTo>
                  <a:lnTo>
                    <a:pt x="334686" y="1081756"/>
                  </a:lnTo>
                  <a:lnTo>
                    <a:pt x="377844" y="1098962"/>
                  </a:lnTo>
                  <a:lnTo>
                    <a:pt x="422665" y="1112640"/>
                  </a:lnTo>
                  <a:lnTo>
                    <a:pt x="468978" y="1122620"/>
                  </a:lnTo>
                  <a:lnTo>
                    <a:pt x="516614" y="1128732"/>
                  </a:lnTo>
                  <a:lnTo>
                    <a:pt x="565403" y="1130808"/>
                  </a:lnTo>
                  <a:lnTo>
                    <a:pt x="614193" y="1128732"/>
                  </a:lnTo>
                  <a:lnTo>
                    <a:pt x="661829" y="1122620"/>
                  </a:lnTo>
                  <a:lnTo>
                    <a:pt x="708142" y="1112640"/>
                  </a:lnTo>
                  <a:lnTo>
                    <a:pt x="752963" y="1098962"/>
                  </a:lnTo>
                  <a:lnTo>
                    <a:pt x="796121" y="1081756"/>
                  </a:lnTo>
                  <a:lnTo>
                    <a:pt x="837447" y="1061192"/>
                  </a:lnTo>
                  <a:lnTo>
                    <a:pt x="876773" y="1037438"/>
                  </a:lnTo>
                  <a:lnTo>
                    <a:pt x="913926" y="1010665"/>
                  </a:lnTo>
                  <a:lnTo>
                    <a:pt x="948740" y="981042"/>
                  </a:lnTo>
                  <a:lnTo>
                    <a:pt x="981042" y="948740"/>
                  </a:lnTo>
                  <a:lnTo>
                    <a:pt x="1010665" y="913926"/>
                  </a:lnTo>
                  <a:lnTo>
                    <a:pt x="1037438" y="876773"/>
                  </a:lnTo>
                  <a:lnTo>
                    <a:pt x="1061192" y="837447"/>
                  </a:lnTo>
                  <a:lnTo>
                    <a:pt x="1081756" y="796121"/>
                  </a:lnTo>
                  <a:lnTo>
                    <a:pt x="1098962" y="752963"/>
                  </a:lnTo>
                  <a:lnTo>
                    <a:pt x="1112640" y="708142"/>
                  </a:lnTo>
                  <a:lnTo>
                    <a:pt x="1122620" y="661829"/>
                  </a:lnTo>
                  <a:lnTo>
                    <a:pt x="1128732" y="614193"/>
                  </a:lnTo>
                  <a:lnTo>
                    <a:pt x="1130807" y="565404"/>
                  </a:lnTo>
                  <a:lnTo>
                    <a:pt x="1128732" y="516614"/>
                  </a:lnTo>
                  <a:lnTo>
                    <a:pt x="1122620" y="468978"/>
                  </a:lnTo>
                  <a:lnTo>
                    <a:pt x="1112640" y="422665"/>
                  </a:lnTo>
                  <a:lnTo>
                    <a:pt x="1098962" y="377844"/>
                  </a:lnTo>
                  <a:lnTo>
                    <a:pt x="1081756" y="334686"/>
                  </a:lnTo>
                  <a:lnTo>
                    <a:pt x="1061192" y="293360"/>
                  </a:lnTo>
                  <a:lnTo>
                    <a:pt x="1037438" y="254034"/>
                  </a:lnTo>
                  <a:lnTo>
                    <a:pt x="1010665" y="216881"/>
                  </a:lnTo>
                  <a:lnTo>
                    <a:pt x="981042" y="182067"/>
                  </a:lnTo>
                  <a:lnTo>
                    <a:pt x="948740" y="149765"/>
                  </a:lnTo>
                  <a:lnTo>
                    <a:pt x="913926" y="120142"/>
                  </a:lnTo>
                  <a:lnTo>
                    <a:pt x="876773" y="93369"/>
                  </a:lnTo>
                  <a:lnTo>
                    <a:pt x="837447" y="69615"/>
                  </a:lnTo>
                  <a:lnTo>
                    <a:pt x="796121" y="49051"/>
                  </a:lnTo>
                  <a:lnTo>
                    <a:pt x="752963" y="31845"/>
                  </a:lnTo>
                  <a:lnTo>
                    <a:pt x="708142" y="18167"/>
                  </a:lnTo>
                  <a:lnTo>
                    <a:pt x="661829" y="8187"/>
                  </a:lnTo>
                  <a:lnTo>
                    <a:pt x="614193" y="2075"/>
                  </a:lnTo>
                  <a:lnTo>
                    <a:pt x="565403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53" name="object 41">
              <a:extLst>
                <a:ext uri="{FF2B5EF4-FFF2-40B4-BE49-F238E27FC236}">
                  <a16:creationId xmlns:a16="http://schemas.microsoft.com/office/drawing/2014/main" id="{9A541F79-BC91-4AFA-ADC1-85D472B392DD}"/>
                </a:ext>
              </a:extLst>
            </p:cNvPr>
            <p:cNvSpPr/>
            <p:nvPr/>
          </p:nvSpPr>
          <p:spPr>
            <a:xfrm>
              <a:off x="3547109" y="2032254"/>
              <a:ext cx="1130935" cy="1130935"/>
            </a:xfrm>
            <a:custGeom>
              <a:avLst/>
              <a:gdLst/>
              <a:ahLst/>
              <a:cxnLst/>
              <a:rect l="l" t="t" r="r" b="b"/>
              <a:pathLst>
                <a:path w="1130935" h="1130935">
                  <a:moveTo>
                    <a:pt x="0" y="565404"/>
                  </a:moveTo>
                  <a:lnTo>
                    <a:pt x="2075" y="516614"/>
                  </a:lnTo>
                  <a:lnTo>
                    <a:pt x="8187" y="468978"/>
                  </a:lnTo>
                  <a:lnTo>
                    <a:pt x="18167" y="422665"/>
                  </a:lnTo>
                  <a:lnTo>
                    <a:pt x="31845" y="377844"/>
                  </a:lnTo>
                  <a:lnTo>
                    <a:pt x="49051" y="334686"/>
                  </a:lnTo>
                  <a:lnTo>
                    <a:pt x="69615" y="293360"/>
                  </a:lnTo>
                  <a:lnTo>
                    <a:pt x="93369" y="254034"/>
                  </a:lnTo>
                  <a:lnTo>
                    <a:pt x="120142" y="216881"/>
                  </a:lnTo>
                  <a:lnTo>
                    <a:pt x="149765" y="182067"/>
                  </a:lnTo>
                  <a:lnTo>
                    <a:pt x="182067" y="149765"/>
                  </a:lnTo>
                  <a:lnTo>
                    <a:pt x="216881" y="120142"/>
                  </a:lnTo>
                  <a:lnTo>
                    <a:pt x="254034" y="93369"/>
                  </a:lnTo>
                  <a:lnTo>
                    <a:pt x="293360" y="69615"/>
                  </a:lnTo>
                  <a:lnTo>
                    <a:pt x="334686" y="49051"/>
                  </a:lnTo>
                  <a:lnTo>
                    <a:pt x="377844" y="31845"/>
                  </a:lnTo>
                  <a:lnTo>
                    <a:pt x="422665" y="18167"/>
                  </a:lnTo>
                  <a:lnTo>
                    <a:pt x="468978" y="8187"/>
                  </a:lnTo>
                  <a:lnTo>
                    <a:pt x="516614" y="2075"/>
                  </a:lnTo>
                  <a:lnTo>
                    <a:pt x="565403" y="0"/>
                  </a:lnTo>
                  <a:lnTo>
                    <a:pt x="614193" y="2075"/>
                  </a:lnTo>
                  <a:lnTo>
                    <a:pt x="661829" y="8187"/>
                  </a:lnTo>
                  <a:lnTo>
                    <a:pt x="708142" y="18167"/>
                  </a:lnTo>
                  <a:lnTo>
                    <a:pt x="752963" y="31845"/>
                  </a:lnTo>
                  <a:lnTo>
                    <a:pt x="796121" y="49051"/>
                  </a:lnTo>
                  <a:lnTo>
                    <a:pt x="837447" y="69615"/>
                  </a:lnTo>
                  <a:lnTo>
                    <a:pt x="876773" y="93369"/>
                  </a:lnTo>
                  <a:lnTo>
                    <a:pt x="913926" y="120142"/>
                  </a:lnTo>
                  <a:lnTo>
                    <a:pt x="948740" y="149765"/>
                  </a:lnTo>
                  <a:lnTo>
                    <a:pt x="981042" y="182067"/>
                  </a:lnTo>
                  <a:lnTo>
                    <a:pt x="1010665" y="216881"/>
                  </a:lnTo>
                  <a:lnTo>
                    <a:pt x="1037438" y="254034"/>
                  </a:lnTo>
                  <a:lnTo>
                    <a:pt x="1061192" y="293360"/>
                  </a:lnTo>
                  <a:lnTo>
                    <a:pt x="1081756" y="334686"/>
                  </a:lnTo>
                  <a:lnTo>
                    <a:pt x="1098962" y="377844"/>
                  </a:lnTo>
                  <a:lnTo>
                    <a:pt x="1112640" y="422665"/>
                  </a:lnTo>
                  <a:lnTo>
                    <a:pt x="1122620" y="468978"/>
                  </a:lnTo>
                  <a:lnTo>
                    <a:pt x="1128732" y="516614"/>
                  </a:lnTo>
                  <a:lnTo>
                    <a:pt x="1130807" y="565404"/>
                  </a:lnTo>
                  <a:lnTo>
                    <a:pt x="1128732" y="614193"/>
                  </a:lnTo>
                  <a:lnTo>
                    <a:pt x="1122620" y="661829"/>
                  </a:lnTo>
                  <a:lnTo>
                    <a:pt x="1112640" y="708142"/>
                  </a:lnTo>
                  <a:lnTo>
                    <a:pt x="1098962" y="752963"/>
                  </a:lnTo>
                  <a:lnTo>
                    <a:pt x="1081756" y="796121"/>
                  </a:lnTo>
                  <a:lnTo>
                    <a:pt x="1061192" y="837447"/>
                  </a:lnTo>
                  <a:lnTo>
                    <a:pt x="1037438" y="876773"/>
                  </a:lnTo>
                  <a:lnTo>
                    <a:pt x="1010665" y="913926"/>
                  </a:lnTo>
                  <a:lnTo>
                    <a:pt x="981042" y="948740"/>
                  </a:lnTo>
                  <a:lnTo>
                    <a:pt x="948740" y="981042"/>
                  </a:lnTo>
                  <a:lnTo>
                    <a:pt x="913926" y="1010665"/>
                  </a:lnTo>
                  <a:lnTo>
                    <a:pt x="876773" y="1037438"/>
                  </a:lnTo>
                  <a:lnTo>
                    <a:pt x="837447" y="1061192"/>
                  </a:lnTo>
                  <a:lnTo>
                    <a:pt x="796121" y="1081756"/>
                  </a:lnTo>
                  <a:lnTo>
                    <a:pt x="752963" y="1098962"/>
                  </a:lnTo>
                  <a:lnTo>
                    <a:pt x="708142" y="1112640"/>
                  </a:lnTo>
                  <a:lnTo>
                    <a:pt x="661829" y="1122620"/>
                  </a:lnTo>
                  <a:lnTo>
                    <a:pt x="614193" y="1128732"/>
                  </a:lnTo>
                  <a:lnTo>
                    <a:pt x="565403" y="1130808"/>
                  </a:lnTo>
                  <a:lnTo>
                    <a:pt x="516614" y="1128732"/>
                  </a:lnTo>
                  <a:lnTo>
                    <a:pt x="468978" y="1122620"/>
                  </a:lnTo>
                  <a:lnTo>
                    <a:pt x="422665" y="1112640"/>
                  </a:lnTo>
                  <a:lnTo>
                    <a:pt x="377844" y="1098962"/>
                  </a:lnTo>
                  <a:lnTo>
                    <a:pt x="334686" y="1081756"/>
                  </a:lnTo>
                  <a:lnTo>
                    <a:pt x="293360" y="1061192"/>
                  </a:lnTo>
                  <a:lnTo>
                    <a:pt x="254034" y="1037438"/>
                  </a:lnTo>
                  <a:lnTo>
                    <a:pt x="216881" y="1010665"/>
                  </a:lnTo>
                  <a:lnTo>
                    <a:pt x="182067" y="981042"/>
                  </a:lnTo>
                  <a:lnTo>
                    <a:pt x="149765" y="948740"/>
                  </a:lnTo>
                  <a:lnTo>
                    <a:pt x="120142" y="913926"/>
                  </a:lnTo>
                  <a:lnTo>
                    <a:pt x="93369" y="876773"/>
                  </a:lnTo>
                  <a:lnTo>
                    <a:pt x="69615" y="837447"/>
                  </a:lnTo>
                  <a:lnTo>
                    <a:pt x="49051" y="796121"/>
                  </a:lnTo>
                  <a:lnTo>
                    <a:pt x="31845" y="752963"/>
                  </a:lnTo>
                  <a:lnTo>
                    <a:pt x="18167" y="708142"/>
                  </a:lnTo>
                  <a:lnTo>
                    <a:pt x="8187" y="661829"/>
                  </a:lnTo>
                  <a:lnTo>
                    <a:pt x="2075" y="614193"/>
                  </a:lnTo>
                  <a:lnTo>
                    <a:pt x="0" y="565404"/>
                  </a:lnTo>
                  <a:close/>
                </a:path>
              </a:pathLst>
            </a:custGeom>
            <a:ln w="19812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41" name="TextBox 40">
            <a:extLst>
              <a:ext uri="{FF2B5EF4-FFF2-40B4-BE49-F238E27FC236}">
                <a16:creationId xmlns:a16="http://schemas.microsoft.com/office/drawing/2014/main" id="{56936B04-848D-44A7-A90D-61DE09649593}"/>
              </a:ext>
            </a:extLst>
          </p:cNvPr>
          <p:cNvSpPr txBox="1"/>
          <p:nvPr/>
        </p:nvSpPr>
        <p:spPr>
          <a:xfrm>
            <a:off x="7367111" y="1761650"/>
            <a:ext cx="994499" cy="184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err="1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Behovshaver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42" name="object 8">
            <a:extLst>
              <a:ext uri="{FF2B5EF4-FFF2-40B4-BE49-F238E27FC236}">
                <a16:creationId xmlns:a16="http://schemas.microsoft.com/office/drawing/2014/main" id="{0899BD54-F8CB-43A0-86E6-42622584F09E}"/>
              </a:ext>
            </a:extLst>
          </p:cNvPr>
          <p:cNvSpPr/>
          <p:nvPr/>
        </p:nvSpPr>
        <p:spPr>
          <a:xfrm flipH="1">
            <a:off x="7809726" y="1970090"/>
            <a:ext cx="181479" cy="538893"/>
          </a:xfrm>
          <a:prstGeom prst="rect">
            <a:avLst/>
          </a:prstGeom>
          <a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43" name="Freeform 756">
            <a:extLst>
              <a:ext uri="{FF2B5EF4-FFF2-40B4-BE49-F238E27FC236}">
                <a16:creationId xmlns:a16="http://schemas.microsoft.com/office/drawing/2014/main" id="{B8B9A667-C6ED-4A8A-A75D-9F9684BD7D88}"/>
              </a:ext>
            </a:extLst>
          </p:cNvPr>
          <p:cNvSpPr>
            <a:spLocks noEditPoints="1"/>
          </p:cNvSpPr>
          <p:nvPr/>
        </p:nvSpPr>
        <p:spPr bwMode="auto">
          <a:xfrm>
            <a:off x="7486987" y="2144849"/>
            <a:ext cx="221878" cy="245023"/>
          </a:xfrm>
          <a:custGeom>
            <a:avLst/>
            <a:gdLst>
              <a:gd name="T0" fmla="*/ 165 w 299"/>
              <a:gd name="T1" fmla="*/ 29 h 299"/>
              <a:gd name="T2" fmla="*/ 121 w 299"/>
              <a:gd name="T3" fmla="*/ 24 h 299"/>
              <a:gd name="T4" fmla="*/ 154 w 299"/>
              <a:gd name="T5" fmla="*/ 1 h 299"/>
              <a:gd name="T6" fmla="*/ 64 w 299"/>
              <a:gd name="T7" fmla="*/ 61 h 299"/>
              <a:gd name="T8" fmla="*/ 107 w 299"/>
              <a:gd name="T9" fmla="*/ 31 h 299"/>
              <a:gd name="T10" fmla="*/ 54 w 299"/>
              <a:gd name="T11" fmla="*/ 55 h 299"/>
              <a:gd name="T12" fmla="*/ 26 w 299"/>
              <a:gd name="T13" fmla="*/ 56 h 299"/>
              <a:gd name="T14" fmla="*/ 0 w 299"/>
              <a:gd name="T15" fmla="*/ 96 h 299"/>
              <a:gd name="T16" fmla="*/ 22 w 299"/>
              <a:gd name="T17" fmla="*/ 91 h 299"/>
              <a:gd name="T18" fmla="*/ 40 w 299"/>
              <a:gd name="T19" fmla="*/ 88 h 299"/>
              <a:gd name="T20" fmla="*/ 59 w 299"/>
              <a:gd name="T21" fmla="*/ 109 h 299"/>
              <a:gd name="T22" fmla="*/ 107 w 299"/>
              <a:gd name="T23" fmla="*/ 119 h 299"/>
              <a:gd name="T24" fmla="*/ 54 w 299"/>
              <a:gd name="T25" fmla="*/ 95 h 299"/>
              <a:gd name="T26" fmla="*/ 150 w 299"/>
              <a:gd name="T27" fmla="*/ 127 h 299"/>
              <a:gd name="T28" fmla="*/ 126 w 299"/>
              <a:gd name="T29" fmla="*/ 139 h 299"/>
              <a:gd name="T30" fmla="*/ 150 w 299"/>
              <a:gd name="T31" fmla="*/ 171 h 299"/>
              <a:gd name="T32" fmla="*/ 174 w 299"/>
              <a:gd name="T33" fmla="*/ 139 h 299"/>
              <a:gd name="T34" fmla="*/ 231 w 299"/>
              <a:gd name="T35" fmla="*/ 89 h 299"/>
              <a:gd name="T36" fmla="*/ 202 w 299"/>
              <a:gd name="T37" fmla="*/ 125 h 299"/>
              <a:gd name="T38" fmla="*/ 245 w 299"/>
              <a:gd name="T39" fmla="*/ 95 h 299"/>
              <a:gd name="T40" fmla="*/ 273 w 299"/>
              <a:gd name="T41" fmla="*/ 56 h 299"/>
              <a:gd name="T42" fmla="*/ 259 w 299"/>
              <a:gd name="T43" fmla="*/ 88 h 299"/>
              <a:gd name="T44" fmla="*/ 278 w 299"/>
              <a:gd name="T45" fmla="*/ 91 h 299"/>
              <a:gd name="T46" fmla="*/ 299 w 299"/>
              <a:gd name="T47" fmla="*/ 96 h 299"/>
              <a:gd name="T48" fmla="*/ 240 w 299"/>
              <a:gd name="T49" fmla="*/ 41 h 299"/>
              <a:gd name="T50" fmla="*/ 198 w 299"/>
              <a:gd name="T51" fmla="*/ 45 h 299"/>
              <a:gd name="T52" fmla="*/ 245 w 299"/>
              <a:gd name="T53" fmla="*/ 55 h 299"/>
              <a:gd name="T54" fmla="*/ 22 w 299"/>
              <a:gd name="T55" fmla="*/ 160 h 299"/>
              <a:gd name="T56" fmla="*/ 0 w 299"/>
              <a:gd name="T57" fmla="*/ 128 h 299"/>
              <a:gd name="T58" fmla="*/ 35 w 299"/>
              <a:gd name="T59" fmla="*/ 214 h 299"/>
              <a:gd name="T60" fmla="*/ 11 w 299"/>
              <a:gd name="T61" fmla="*/ 181 h 299"/>
              <a:gd name="T62" fmla="*/ 6 w 299"/>
              <a:gd name="T63" fmla="*/ 223 h 299"/>
              <a:gd name="T64" fmla="*/ 39 w 299"/>
              <a:gd name="T65" fmla="*/ 229 h 299"/>
              <a:gd name="T66" fmla="*/ 69 w 299"/>
              <a:gd name="T67" fmla="*/ 232 h 299"/>
              <a:gd name="T68" fmla="*/ 92 w 299"/>
              <a:gd name="T69" fmla="*/ 269 h 299"/>
              <a:gd name="T70" fmla="*/ 102 w 299"/>
              <a:gd name="T71" fmla="*/ 250 h 299"/>
              <a:gd name="T72" fmla="*/ 160 w 299"/>
              <a:gd name="T73" fmla="*/ 203 h 299"/>
              <a:gd name="T74" fmla="*/ 139 w 299"/>
              <a:gd name="T75" fmla="*/ 235 h 299"/>
              <a:gd name="T76" fmla="*/ 160 w 299"/>
              <a:gd name="T77" fmla="*/ 271 h 299"/>
              <a:gd name="T78" fmla="*/ 139 w 299"/>
              <a:gd name="T79" fmla="*/ 267 h 299"/>
              <a:gd name="T80" fmla="*/ 121 w 299"/>
              <a:gd name="T81" fmla="*/ 273 h 299"/>
              <a:gd name="T82" fmla="*/ 150 w 299"/>
              <a:gd name="T83" fmla="*/ 299 h 299"/>
              <a:gd name="T84" fmla="*/ 174 w 299"/>
              <a:gd name="T85" fmla="*/ 289 h 299"/>
              <a:gd name="T86" fmla="*/ 231 w 299"/>
              <a:gd name="T87" fmla="*/ 239 h 299"/>
              <a:gd name="T88" fmla="*/ 202 w 299"/>
              <a:gd name="T89" fmla="*/ 274 h 299"/>
              <a:gd name="T90" fmla="*/ 245 w 299"/>
              <a:gd name="T91" fmla="*/ 244 h 299"/>
              <a:gd name="T92" fmla="*/ 278 w 299"/>
              <a:gd name="T93" fmla="*/ 203 h 299"/>
              <a:gd name="T94" fmla="*/ 259 w 299"/>
              <a:gd name="T95" fmla="*/ 237 h 299"/>
              <a:gd name="T96" fmla="*/ 293 w 299"/>
              <a:gd name="T97" fmla="*/ 234 h 299"/>
              <a:gd name="T98" fmla="*/ 288 w 299"/>
              <a:gd name="T99" fmla="*/ 192 h 299"/>
              <a:gd name="T100" fmla="*/ 278 w 299"/>
              <a:gd name="T101" fmla="*/ 171 h 299"/>
              <a:gd name="T102" fmla="*/ 299 w 299"/>
              <a:gd name="T103" fmla="*/ 139 h 2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299" h="299">
                <a:moveTo>
                  <a:pt x="179" y="24"/>
                </a:moveTo>
                <a:cubicBezTo>
                  <a:pt x="177" y="28"/>
                  <a:pt x="173" y="30"/>
                  <a:pt x="169" y="30"/>
                </a:cubicBezTo>
                <a:cubicBezTo>
                  <a:pt x="168" y="30"/>
                  <a:pt x="166" y="30"/>
                  <a:pt x="165" y="29"/>
                </a:cubicBezTo>
                <a:cubicBezTo>
                  <a:pt x="150" y="22"/>
                  <a:pt x="150" y="22"/>
                  <a:pt x="150" y="22"/>
                </a:cubicBezTo>
                <a:cubicBezTo>
                  <a:pt x="135" y="29"/>
                  <a:pt x="135" y="29"/>
                  <a:pt x="135" y="29"/>
                </a:cubicBezTo>
                <a:cubicBezTo>
                  <a:pt x="129" y="32"/>
                  <a:pt x="123" y="29"/>
                  <a:pt x="121" y="24"/>
                </a:cubicBezTo>
                <a:cubicBezTo>
                  <a:pt x="118" y="19"/>
                  <a:pt x="120" y="12"/>
                  <a:pt x="126" y="10"/>
                </a:cubicBezTo>
                <a:cubicBezTo>
                  <a:pt x="145" y="1"/>
                  <a:pt x="145" y="1"/>
                  <a:pt x="145" y="1"/>
                </a:cubicBezTo>
                <a:cubicBezTo>
                  <a:pt x="148" y="0"/>
                  <a:pt x="151" y="0"/>
                  <a:pt x="154" y="1"/>
                </a:cubicBezTo>
                <a:cubicBezTo>
                  <a:pt x="174" y="10"/>
                  <a:pt x="174" y="10"/>
                  <a:pt x="174" y="10"/>
                </a:cubicBezTo>
                <a:cubicBezTo>
                  <a:pt x="179" y="12"/>
                  <a:pt x="181" y="19"/>
                  <a:pt x="179" y="24"/>
                </a:cubicBezTo>
                <a:close/>
                <a:moveTo>
                  <a:pt x="64" y="61"/>
                </a:moveTo>
                <a:cubicBezTo>
                  <a:pt x="65" y="61"/>
                  <a:pt x="67" y="61"/>
                  <a:pt x="68" y="60"/>
                </a:cubicBezTo>
                <a:cubicBezTo>
                  <a:pt x="101" y="45"/>
                  <a:pt x="101" y="45"/>
                  <a:pt x="101" y="45"/>
                </a:cubicBezTo>
                <a:cubicBezTo>
                  <a:pt x="107" y="42"/>
                  <a:pt x="109" y="36"/>
                  <a:pt x="107" y="31"/>
                </a:cubicBezTo>
                <a:cubicBezTo>
                  <a:pt x="104" y="25"/>
                  <a:pt x="98" y="23"/>
                  <a:pt x="93" y="25"/>
                </a:cubicBezTo>
                <a:cubicBezTo>
                  <a:pt x="59" y="41"/>
                  <a:pt x="59" y="41"/>
                  <a:pt x="59" y="41"/>
                </a:cubicBezTo>
                <a:cubicBezTo>
                  <a:pt x="54" y="43"/>
                  <a:pt x="52" y="49"/>
                  <a:pt x="54" y="55"/>
                </a:cubicBezTo>
                <a:cubicBezTo>
                  <a:pt x="56" y="59"/>
                  <a:pt x="60" y="61"/>
                  <a:pt x="64" y="61"/>
                </a:cubicBezTo>
                <a:close/>
                <a:moveTo>
                  <a:pt x="40" y="61"/>
                </a:moveTo>
                <a:cubicBezTo>
                  <a:pt x="38" y="56"/>
                  <a:pt x="31" y="54"/>
                  <a:pt x="26" y="56"/>
                </a:cubicBezTo>
                <a:cubicBezTo>
                  <a:pt x="7" y="65"/>
                  <a:pt x="7" y="65"/>
                  <a:pt x="7" y="65"/>
                </a:cubicBezTo>
                <a:cubicBezTo>
                  <a:pt x="3" y="67"/>
                  <a:pt x="0" y="71"/>
                  <a:pt x="0" y="75"/>
                </a:cubicBezTo>
                <a:cubicBezTo>
                  <a:pt x="0" y="96"/>
                  <a:pt x="0" y="96"/>
                  <a:pt x="0" y="96"/>
                </a:cubicBezTo>
                <a:cubicBezTo>
                  <a:pt x="0" y="102"/>
                  <a:pt x="5" y="107"/>
                  <a:pt x="11" y="107"/>
                </a:cubicBezTo>
                <a:cubicBezTo>
                  <a:pt x="17" y="107"/>
                  <a:pt x="22" y="102"/>
                  <a:pt x="22" y="96"/>
                </a:cubicBezTo>
                <a:cubicBezTo>
                  <a:pt x="22" y="91"/>
                  <a:pt x="22" y="91"/>
                  <a:pt x="22" y="91"/>
                </a:cubicBezTo>
                <a:cubicBezTo>
                  <a:pt x="26" y="93"/>
                  <a:pt x="26" y="93"/>
                  <a:pt x="26" y="93"/>
                </a:cubicBezTo>
                <a:cubicBezTo>
                  <a:pt x="27" y="94"/>
                  <a:pt x="29" y="94"/>
                  <a:pt x="30" y="94"/>
                </a:cubicBezTo>
                <a:cubicBezTo>
                  <a:pt x="34" y="94"/>
                  <a:pt x="38" y="92"/>
                  <a:pt x="40" y="88"/>
                </a:cubicBezTo>
                <a:cubicBezTo>
                  <a:pt x="42" y="83"/>
                  <a:pt x="41" y="78"/>
                  <a:pt x="36" y="75"/>
                </a:cubicBezTo>
                <a:cubicBezTo>
                  <a:pt x="41" y="72"/>
                  <a:pt x="42" y="66"/>
                  <a:pt x="40" y="61"/>
                </a:cubicBezTo>
                <a:close/>
                <a:moveTo>
                  <a:pt x="59" y="109"/>
                </a:moveTo>
                <a:cubicBezTo>
                  <a:pt x="93" y="124"/>
                  <a:pt x="93" y="124"/>
                  <a:pt x="93" y="124"/>
                </a:cubicBezTo>
                <a:cubicBezTo>
                  <a:pt x="94" y="125"/>
                  <a:pt x="95" y="125"/>
                  <a:pt x="97" y="125"/>
                </a:cubicBezTo>
                <a:cubicBezTo>
                  <a:pt x="101" y="125"/>
                  <a:pt x="105" y="123"/>
                  <a:pt x="107" y="119"/>
                </a:cubicBezTo>
                <a:cubicBezTo>
                  <a:pt x="109" y="113"/>
                  <a:pt x="107" y="107"/>
                  <a:pt x="101" y="105"/>
                </a:cubicBezTo>
                <a:cubicBezTo>
                  <a:pt x="68" y="89"/>
                  <a:pt x="68" y="89"/>
                  <a:pt x="68" y="89"/>
                </a:cubicBezTo>
                <a:cubicBezTo>
                  <a:pt x="63" y="87"/>
                  <a:pt x="56" y="89"/>
                  <a:pt x="54" y="95"/>
                </a:cubicBezTo>
                <a:cubicBezTo>
                  <a:pt x="52" y="100"/>
                  <a:pt x="54" y="106"/>
                  <a:pt x="59" y="109"/>
                </a:cubicBezTo>
                <a:close/>
                <a:moveTo>
                  <a:pt x="165" y="120"/>
                </a:moveTo>
                <a:cubicBezTo>
                  <a:pt x="150" y="127"/>
                  <a:pt x="150" y="127"/>
                  <a:pt x="150" y="127"/>
                </a:cubicBezTo>
                <a:cubicBezTo>
                  <a:pt x="135" y="120"/>
                  <a:pt x="135" y="120"/>
                  <a:pt x="135" y="120"/>
                </a:cubicBezTo>
                <a:cubicBezTo>
                  <a:pt x="129" y="118"/>
                  <a:pt x="123" y="120"/>
                  <a:pt x="121" y="125"/>
                </a:cubicBezTo>
                <a:cubicBezTo>
                  <a:pt x="118" y="131"/>
                  <a:pt x="120" y="137"/>
                  <a:pt x="126" y="139"/>
                </a:cubicBezTo>
                <a:cubicBezTo>
                  <a:pt x="139" y="145"/>
                  <a:pt x="139" y="145"/>
                  <a:pt x="139" y="145"/>
                </a:cubicBezTo>
                <a:cubicBezTo>
                  <a:pt x="139" y="160"/>
                  <a:pt x="139" y="160"/>
                  <a:pt x="139" y="160"/>
                </a:cubicBezTo>
                <a:cubicBezTo>
                  <a:pt x="139" y="166"/>
                  <a:pt x="144" y="171"/>
                  <a:pt x="150" y="171"/>
                </a:cubicBezTo>
                <a:cubicBezTo>
                  <a:pt x="156" y="171"/>
                  <a:pt x="160" y="166"/>
                  <a:pt x="160" y="160"/>
                </a:cubicBezTo>
                <a:cubicBezTo>
                  <a:pt x="160" y="145"/>
                  <a:pt x="160" y="145"/>
                  <a:pt x="160" y="145"/>
                </a:cubicBezTo>
                <a:cubicBezTo>
                  <a:pt x="174" y="139"/>
                  <a:pt x="174" y="139"/>
                  <a:pt x="174" y="139"/>
                </a:cubicBezTo>
                <a:cubicBezTo>
                  <a:pt x="179" y="137"/>
                  <a:pt x="181" y="131"/>
                  <a:pt x="179" y="125"/>
                </a:cubicBezTo>
                <a:cubicBezTo>
                  <a:pt x="176" y="120"/>
                  <a:pt x="170" y="118"/>
                  <a:pt x="165" y="120"/>
                </a:cubicBezTo>
                <a:close/>
                <a:moveTo>
                  <a:pt x="231" y="89"/>
                </a:moveTo>
                <a:cubicBezTo>
                  <a:pt x="198" y="105"/>
                  <a:pt x="198" y="105"/>
                  <a:pt x="198" y="105"/>
                </a:cubicBezTo>
                <a:cubicBezTo>
                  <a:pt x="193" y="107"/>
                  <a:pt x="190" y="113"/>
                  <a:pt x="193" y="119"/>
                </a:cubicBezTo>
                <a:cubicBezTo>
                  <a:pt x="194" y="123"/>
                  <a:pt x="198" y="125"/>
                  <a:pt x="202" y="125"/>
                </a:cubicBezTo>
                <a:cubicBezTo>
                  <a:pt x="204" y="125"/>
                  <a:pt x="205" y="125"/>
                  <a:pt x="207" y="124"/>
                </a:cubicBezTo>
                <a:cubicBezTo>
                  <a:pt x="240" y="109"/>
                  <a:pt x="240" y="109"/>
                  <a:pt x="240" y="109"/>
                </a:cubicBezTo>
                <a:cubicBezTo>
                  <a:pt x="245" y="106"/>
                  <a:pt x="248" y="100"/>
                  <a:pt x="245" y="95"/>
                </a:cubicBezTo>
                <a:cubicBezTo>
                  <a:pt x="243" y="89"/>
                  <a:pt x="237" y="87"/>
                  <a:pt x="231" y="89"/>
                </a:cubicBezTo>
                <a:close/>
                <a:moveTo>
                  <a:pt x="293" y="65"/>
                </a:moveTo>
                <a:cubicBezTo>
                  <a:pt x="273" y="56"/>
                  <a:pt x="273" y="56"/>
                  <a:pt x="273" y="56"/>
                </a:cubicBezTo>
                <a:cubicBezTo>
                  <a:pt x="268" y="54"/>
                  <a:pt x="262" y="56"/>
                  <a:pt x="259" y="61"/>
                </a:cubicBezTo>
                <a:cubicBezTo>
                  <a:pt x="257" y="66"/>
                  <a:pt x="259" y="72"/>
                  <a:pt x="263" y="75"/>
                </a:cubicBezTo>
                <a:cubicBezTo>
                  <a:pt x="259" y="78"/>
                  <a:pt x="257" y="83"/>
                  <a:pt x="259" y="88"/>
                </a:cubicBezTo>
                <a:cubicBezTo>
                  <a:pt x="261" y="92"/>
                  <a:pt x="265" y="94"/>
                  <a:pt x="269" y="94"/>
                </a:cubicBezTo>
                <a:cubicBezTo>
                  <a:pt x="270" y="94"/>
                  <a:pt x="272" y="94"/>
                  <a:pt x="273" y="93"/>
                </a:cubicBezTo>
                <a:cubicBezTo>
                  <a:pt x="278" y="91"/>
                  <a:pt x="278" y="91"/>
                  <a:pt x="278" y="91"/>
                </a:cubicBezTo>
                <a:cubicBezTo>
                  <a:pt x="278" y="96"/>
                  <a:pt x="278" y="96"/>
                  <a:pt x="278" y="96"/>
                </a:cubicBezTo>
                <a:cubicBezTo>
                  <a:pt x="278" y="102"/>
                  <a:pt x="282" y="107"/>
                  <a:pt x="288" y="107"/>
                </a:cubicBezTo>
                <a:cubicBezTo>
                  <a:pt x="294" y="107"/>
                  <a:pt x="299" y="102"/>
                  <a:pt x="299" y="96"/>
                </a:cubicBezTo>
                <a:cubicBezTo>
                  <a:pt x="299" y="75"/>
                  <a:pt x="299" y="75"/>
                  <a:pt x="299" y="75"/>
                </a:cubicBezTo>
                <a:cubicBezTo>
                  <a:pt x="299" y="71"/>
                  <a:pt x="297" y="67"/>
                  <a:pt x="293" y="65"/>
                </a:cubicBezTo>
                <a:close/>
                <a:moveTo>
                  <a:pt x="240" y="41"/>
                </a:moveTo>
                <a:cubicBezTo>
                  <a:pt x="207" y="25"/>
                  <a:pt x="207" y="25"/>
                  <a:pt x="207" y="25"/>
                </a:cubicBezTo>
                <a:cubicBezTo>
                  <a:pt x="201" y="23"/>
                  <a:pt x="195" y="25"/>
                  <a:pt x="193" y="31"/>
                </a:cubicBezTo>
                <a:cubicBezTo>
                  <a:pt x="190" y="36"/>
                  <a:pt x="193" y="42"/>
                  <a:pt x="198" y="45"/>
                </a:cubicBezTo>
                <a:cubicBezTo>
                  <a:pt x="231" y="60"/>
                  <a:pt x="231" y="60"/>
                  <a:pt x="231" y="60"/>
                </a:cubicBezTo>
                <a:cubicBezTo>
                  <a:pt x="233" y="61"/>
                  <a:pt x="234" y="61"/>
                  <a:pt x="236" y="61"/>
                </a:cubicBezTo>
                <a:cubicBezTo>
                  <a:pt x="240" y="61"/>
                  <a:pt x="244" y="59"/>
                  <a:pt x="245" y="55"/>
                </a:cubicBezTo>
                <a:cubicBezTo>
                  <a:pt x="248" y="49"/>
                  <a:pt x="245" y="43"/>
                  <a:pt x="240" y="41"/>
                </a:cubicBezTo>
                <a:close/>
                <a:moveTo>
                  <a:pt x="11" y="171"/>
                </a:moveTo>
                <a:cubicBezTo>
                  <a:pt x="17" y="171"/>
                  <a:pt x="22" y="166"/>
                  <a:pt x="22" y="160"/>
                </a:cubicBezTo>
                <a:cubicBezTo>
                  <a:pt x="22" y="128"/>
                  <a:pt x="22" y="128"/>
                  <a:pt x="22" y="128"/>
                </a:cubicBezTo>
                <a:cubicBezTo>
                  <a:pt x="22" y="122"/>
                  <a:pt x="17" y="117"/>
                  <a:pt x="11" y="117"/>
                </a:cubicBezTo>
                <a:cubicBezTo>
                  <a:pt x="5" y="117"/>
                  <a:pt x="0" y="122"/>
                  <a:pt x="0" y="128"/>
                </a:cubicBezTo>
                <a:cubicBezTo>
                  <a:pt x="0" y="160"/>
                  <a:pt x="0" y="160"/>
                  <a:pt x="0" y="160"/>
                </a:cubicBezTo>
                <a:cubicBezTo>
                  <a:pt x="0" y="166"/>
                  <a:pt x="5" y="171"/>
                  <a:pt x="11" y="171"/>
                </a:cubicBezTo>
                <a:close/>
                <a:moveTo>
                  <a:pt x="35" y="214"/>
                </a:moveTo>
                <a:cubicBezTo>
                  <a:pt x="22" y="207"/>
                  <a:pt x="22" y="207"/>
                  <a:pt x="22" y="207"/>
                </a:cubicBezTo>
                <a:cubicBezTo>
                  <a:pt x="22" y="192"/>
                  <a:pt x="22" y="192"/>
                  <a:pt x="22" y="192"/>
                </a:cubicBezTo>
                <a:cubicBezTo>
                  <a:pt x="22" y="186"/>
                  <a:pt x="17" y="181"/>
                  <a:pt x="11" y="181"/>
                </a:cubicBezTo>
                <a:cubicBezTo>
                  <a:pt x="5" y="181"/>
                  <a:pt x="0" y="186"/>
                  <a:pt x="0" y="192"/>
                </a:cubicBezTo>
                <a:cubicBezTo>
                  <a:pt x="0" y="213"/>
                  <a:pt x="0" y="213"/>
                  <a:pt x="0" y="213"/>
                </a:cubicBezTo>
                <a:cubicBezTo>
                  <a:pt x="0" y="217"/>
                  <a:pt x="2" y="221"/>
                  <a:pt x="6" y="223"/>
                </a:cubicBezTo>
                <a:cubicBezTo>
                  <a:pt x="25" y="233"/>
                  <a:pt x="25" y="233"/>
                  <a:pt x="25" y="233"/>
                </a:cubicBezTo>
                <a:cubicBezTo>
                  <a:pt x="26" y="234"/>
                  <a:pt x="28" y="234"/>
                  <a:pt x="30" y="234"/>
                </a:cubicBezTo>
                <a:cubicBezTo>
                  <a:pt x="34" y="234"/>
                  <a:pt x="37" y="232"/>
                  <a:pt x="39" y="229"/>
                </a:cubicBezTo>
                <a:cubicBezTo>
                  <a:pt x="42" y="223"/>
                  <a:pt x="40" y="217"/>
                  <a:pt x="35" y="214"/>
                </a:cubicBezTo>
                <a:close/>
                <a:moveTo>
                  <a:pt x="102" y="250"/>
                </a:moveTo>
                <a:cubicBezTo>
                  <a:pt x="69" y="232"/>
                  <a:pt x="69" y="232"/>
                  <a:pt x="69" y="232"/>
                </a:cubicBezTo>
                <a:cubicBezTo>
                  <a:pt x="63" y="229"/>
                  <a:pt x="57" y="231"/>
                  <a:pt x="54" y="237"/>
                </a:cubicBezTo>
                <a:cubicBezTo>
                  <a:pt x="51" y="242"/>
                  <a:pt x="53" y="248"/>
                  <a:pt x="58" y="251"/>
                </a:cubicBezTo>
                <a:cubicBezTo>
                  <a:pt x="92" y="269"/>
                  <a:pt x="92" y="269"/>
                  <a:pt x="92" y="269"/>
                </a:cubicBezTo>
                <a:cubicBezTo>
                  <a:pt x="94" y="270"/>
                  <a:pt x="95" y="270"/>
                  <a:pt x="97" y="270"/>
                </a:cubicBezTo>
                <a:cubicBezTo>
                  <a:pt x="101" y="270"/>
                  <a:pt x="105" y="268"/>
                  <a:pt x="107" y="265"/>
                </a:cubicBezTo>
                <a:cubicBezTo>
                  <a:pt x="109" y="260"/>
                  <a:pt x="107" y="253"/>
                  <a:pt x="102" y="250"/>
                </a:cubicBezTo>
                <a:close/>
                <a:moveTo>
                  <a:pt x="150" y="245"/>
                </a:moveTo>
                <a:cubicBezTo>
                  <a:pt x="156" y="245"/>
                  <a:pt x="160" y="241"/>
                  <a:pt x="160" y="235"/>
                </a:cubicBezTo>
                <a:cubicBezTo>
                  <a:pt x="160" y="203"/>
                  <a:pt x="160" y="203"/>
                  <a:pt x="160" y="203"/>
                </a:cubicBezTo>
                <a:cubicBezTo>
                  <a:pt x="160" y="197"/>
                  <a:pt x="156" y="192"/>
                  <a:pt x="150" y="192"/>
                </a:cubicBezTo>
                <a:cubicBezTo>
                  <a:pt x="144" y="192"/>
                  <a:pt x="139" y="197"/>
                  <a:pt x="139" y="203"/>
                </a:cubicBezTo>
                <a:cubicBezTo>
                  <a:pt x="139" y="235"/>
                  <a:pt x="139" y="235"/>
                  <a:pt x="139" y="235"/>
                </a:cubicBezTo>
                <a:cubicBezTo>
                  <a:pt x="139" y="241"/>
                  <a:pt x="144" y="245"/>
                  <a:pt x="150" y="245"/>
                </a:cubicBezTo>
                <a:close/>
                <a:moveTo>
                  <a:pt x="165" y="269"/>
                </a:moveTo>
                <a:cubicBezTo>
                  <a:pt x="160" y="271"/>
                  <a:pt x="160" y="271"/>
                  <a:pt x="160" y="271"/>
                </a:cubicBezTo>
                <a:cubicBezTo>
                  <a:pt x="160" y="267"/>
                  <a:pt x="160" y="267"/>
                  <a:pt x="160" y="267"/>
                </a:cubicBezTo>
                <a:cubicBezTo>
                  <a:pt x="160" y="261"/>
                  <a:pt x="156" y="256"/>
                  <a:pt x="150" y="256"/>
                </a:cubicBezTo>
                <a:cubicBezTo>
                  <a:pt x="144" y="256"/>
                  <a:pt x="139" y="261"/>
                  <a:pt x="139" y="267"/>
                </a:cubicBezTo>
                <a:cubicBezTo>
                  <a:pt x="139" y="270"/>
                  <a:pt x="139" y="270"/>
                  <a:pt x="139" y="270"/>
                </a:cubicBezTo>
                <a:cubicBezTo>
                  <a:pt x="136" y="268"/>
                  <a:pt x="136" y="268"/>
                  <a:pt x="136" y="268"/>
                </a:cubicBezTo>
                <a:cubicBezTo>
                  <a:pt x="131" y="266"/>
                  <a:pt x="124" y="268"/>
                  <a:pt x="121" y="273"/>
                </a:cubicBezTo>
                <a:cubicBezTo>
                  <a:pt x="119" y="278"/>
                  <a:pt x="121" y="284"/>
                  <a:pt x="126" y="287"/>
                </a:cubicBezTo>
                <a:cubicBezTo>
                  <a:pt x="145" y="297"/>
                  <a:pt x="145" y="297"/>
                  <a:pt x="145" y="297"/>
                </a:cubicBezTo>
                <a:cubicBezTo>
                  <a:pt x="146" y="298"/>
                  <a:pt x="148" y="299"/>
                  <a:pt x="150" y="299"/>
                </a:cubicBezTo>
                <a:cubicBezTo>
                  <a:pt x="151" y="299"/>
                  <a:pt x="153" y="298"/>
                  <a:pt x="154" y="298"/>
                </a:cubicBezTo>
                <a:cubicBezTo>
                  <a:pt x="154" y="298"/>
                  <a:pt x="154" y="298"/>
                  <a:pt x="154" y="298"/>
                </a:cubicBezTo>
                <a:cubicBezTo>
                  <a:pt x="174" y="289"/>
                  <a:pt x="174" y="289"/>
                  <a:pt x="174" y="289"/>
                </a:cubicBezTo>
                <a:cubicBezTo>
                  <a:pt x="179" y="286"/>
                  <a:pt x="181" y="280"/>
                  <a:pt x="179" y="275"/>
                </a:cubicBezTo>
                <a:cubicBezTo>
                  <a:pt x="176" y="269"/>
                  <a:pt x="170" y="267"/>
                  <a:pt x="165" y="269"/>
                </a:cubicBezTo>
                <a:close/>
                <a:moveTo>
                  <a:pt x="231" y="239"/>
                </a:moveTo>
                <a:cubicBezTo>
                  <a:pt x="198" y="254"/>
                  <a:pt x="198" y="254"/>
                  <a:pt x="198" y="254"/>
                </a:cubicBezTo>
                <a:cubicBezTo>
                  <a:pt x="193" y="256"/>
                  <a:pt x="190" y="263"/>
                  <a:pt x="193" y="268"/>
                </a:cubicBezTo>
                <a:cubicBezTo>
                  <a:pt x="194" y="272"/>
                  <a:pt x="198" y="274"/>
                  <a:pt x="202" y="274"/>
                </a:cubicBezTo>
                <a:cubicBezTo>
                  <a:pt x="204" y="274"/>
                  <a:pt x="205" y="274"/>
                  <a:pt x="207" y="273"/>
                </a:cubicBezTo>
                <a:cubicBezTo>
                  <a:pt x="240" y="258"/>
                  <a:pt x="240" y="258"/>
                  <a:pt x="240" y="258"/>
                </a:cubicBezTo>
                <a:cubicBezTo>
                  <a:pt x="245" y="256"/>
                  <a:pt x="248" y="249"/>
                  <a:pt x="245" y="244"/>
                </a:cubicBezTo>
                <a:cubicBezTo>
                  <a:pt x="243" y="238"/>
                  <a:pt x="237" y="236"/>
                  <a:pt x="231" y="239"/>
                </a:cubicBezTo>
                <a:close/>
                <a:moveTo>
                  <a:pt x="288" y="192"/>
                </a:moveTo>
                <a:cubicBezTo>
                  <a:pt x="282" y="192"/>
                  <a:pt x="278" y="197"/>
                  <a:pt x="278" y="203"/>
                </a:cubicBezTo>
                <a:cubicBezTo>
                  <a:pt x="278" y="217"/>
                  <a:pt x="278" y="217"/>
                  <a:pt x="278" y="217"/>
                </a:cubicBezTo>
                <a:cubicBezTo>
                  <a:pt x="264" y="223"/>
                  <a:pt x="264" y="223"/>
                  <a:pt x="264" y="223"/>
                </a:cubicBezTo>
                <a:cubicBezTo>
                  <a:pt x="259" y="226"/>
                  <a:pt x="257" y="232"/>
                  <a:pt x="259" y="237"/>
                </a:cubicBezTo>
                <a:cubicBezTo>
                  <a:pt x="261" y="241"/>
                  <a:pt x="265" y="244"/>
                  <a:pt x="269" y="244"/>
                </a:cubicBezTo>
                <a:cubicBezTo>
                  <a:pt x="270" y="244"/>
                  <a:pt x="272" y="243"/>
                  <a:pt x="273" y="243"/>
                </a:cubicBezTo>
                <a:cubicBezTo>
                  <a:pt x="293" y="234"/>
                  <a:pt x="293" y="234"/>
                  <a:pt x="293" y="234"/>
                </a:cubicBezTo>
                <a:cubicBezTo>
                  <a:pt x="297" y="232"/>
                  <a:pt x="299" y="228"/>
                  <a:pt x="299" y="224"/>
                </a:cubicBezTo>
                <a:cubicBezTo>
                  <a:pt x="299" y="203"/>
                  <a:pt x="299" y="203"/>
                  <a:pt x="299" y="203"/>
                </a:cubicBezTo>
                <a:cubicBezTo>
                  <a:pt x="299" y="197"/>
                  <a:pt x="294" y="192"/>
                  <a:pt x="288" y="192"/>
                </a:cubicBezTo>
                <a:close/>
                <a:moveTo>
                  <a:pt x="288" y="128"/>
                </a:moveTo>
                <a:cubicBezTo>
                  <a:pt x="282" y="128"/>
                  <a:pt x="278" y="133"/>
                  <a:pt x="278" y="139"/>
                </a:cubicBezTo>
                <a:cubicBezTo>
                  <a:pt x="278" y="171"/>
                  <a:pt x="278" y="171"/>
                  <a:pt x="278" y="171"/>
                </a:cubicBezTo>
                <a:cubicBezTo>
                  <a:pt x="278" y="177"/>
                  <a:pt x="282" y="181"/>
                  <a:pt x="288" y="181"/>
                </a:cubicBezTo>
                <a:cubicBezTo>
                  <a:pt x="294" y="181"/>
                  <a:pt x="299" y="177"/>
                  <a:pt x="299" y="171"/>
                </a:cubicBezTo>
                <a:cubicBezTo>
                  <a:pt x="299" y="139"/>
                  <a:pt x="299" y="139"/>
                  <a:pt x="299" y="139"/>
                </a:cubicBezTo>
                <a:cubicBezTo>
                  <a:pt x="299" y="133"/>
                  <a:pt x="294" y="128"/>
                  <a:pt x="288" y="128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p14="http://schemas.microsoft.com/office/powerpoint/2010/main" xmlns:mc="http://schemas.openxmlformats.org/markup-compatibility/2006"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446" tIns="60723" rIns="121446" bIns="60723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1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4" name="object 56">
            <a:extLst>
              <a:ext uri="{FF2B5EF4-FFF2-40B4-BE49-F238E27FC236}">
                <a16:creationId xmlns:a16="http://schemas.microsoft.com/office/drawing/2014/main" id="{4CB23EA2-8F84-4E0A-8A7C-158DD3EFC357}"/>
              </a:ext>
            </a:extLst>
          </p:cNvPr>
          <p:cNvSpPr txBox="1"/>
          <p:nvPr/>
        </p:nvSpPr>
        <p:spPr>
          <a:xfrm>
            <a:off x="6115269" y="1142328"/>
            <a:ext cx="1470290" cy="57900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-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Mottar vare/tjeneste og melder ti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-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Fagrekvirent for registrering av varemottak</a:t>
            </a:r>
            <a:endParaRPr kumimoji="0" lang="en-US" sz="900" b="0" i="0" u="none" strike="noStrike" kern="1200" cap="none" spc="-5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Verdana"/>
            </a:endParaRPr>
          </a:p>
        </p:txBody>
      </p:sp>
      <p:sp>
        <p:nvSpPr>
          <p:cNvPr id="45" name="object 65">
            <a:extLst>
              <a:ext uri="{FF2B5EF4-FFF2-40B4-BE49-F238E27FC236}">
                <a16:creationId xmlns:a16="http://schemas.microsoft.com/office/drawing/2014/main" id="{D501F192-7993-4FC2-8B08-58066ECBFC91}"/>
              </a:ext>
            </a:extLst>
          </p:cNvPr>
          <p:cNvSpPr/>
          <p:nvPr/>
        </p:nvSpPr>
        <p:spPr>
          <a:xfrm rot="20354384" flipV="1">
            <a:off x="6882440" y="2709912"/>
            <a:ext cx="592792" cy="186521"/>
          </a:xfrm>
          <a:custGeom>
            <a:avLst/>
            <a:gdLst/>
            <a:ahLst/>
            <a:cxnLst/>
            <a:rect l="l" t="t" r="r" b="b"/>
            <a:pathLst>
              <a:path w="1685289" h="352425">
                <a:moveTo>
                  <a:pt x="1621144" y="306764"/>
                </a:moveTo>
                <a:lnTo>
                  <a:pt x="1602486" y="327913"/>
                </a:lnTo>
                <a:lnTo>
                  <a:pt x="1684782" y="349758"/>
                </a:lnTo>
                <a:lnTo>
                  <a:pt x="1670790" y="315087"/>
                </a:lnTo>
                <a:lnTo>
                  <a:pt x="1631188" y="315087"/>
                </a:lnTo>
                <a:lnTo>
                  <a:pt x="1621144" y="306764"/>
                </a:lnTo>
                <a:close/>
              </a:path>
              <a:path w="1685289" h="352425">
                <a:moveTo>
                  <a:pt x="1633736" y="292491"/>
                </a:moveTo>
                <a:lnTo>
                  <a:pt x="1621144" y="306764"/>
                </a:lnTo>
                <a:lnTo>
                  <a:pt x="1631188" y="315087"/>
                </a:lnTo>
                <a:lnTo>
                  <a:pt x="1643380" y="300482"/>
                </a:lnTo>
                <a:lnTo>
                  <a:pt x="1633736" y="292491"/>
                </a:lnTo>
                <a:close/>
              </a:path>
              <a:path w="1685289" h="352425">
                <a:moveTo>
                  <a:pt x="1652905" y="270763"/>
                </a:moveTo>
                <a:lnTo>
                  <a:pt x="1633736" y="292491"/>
                </a:lnTo>
                <a:lnTo>
                  <a:pt x="1643380" y="300482"/>
                </a:lnTo>
                <a:lnTo>
                  <a:pt x="1631188" y="315087"/>
                </a:lnTo>
                <a:lnTo>
                  <a:pt x="1670790" y="315087"/>
                </a:lnTo>
                <a:lnTo>
                  <a:pt x="1652905" y="270763"/>
                </a:lnTo>
                <a:close/>
              </a:path>
              <a:path w="1685289" h="352425">
                <a:moveTo>
                  <a:pt x="1583689" y="252222"/>
                </a:moveTo>
                <a:lnTo>
                  <a:pt x="1572387" y="267588"/>
                </a:lnTo>
                <a:lnTo>
                  <a:pt x="1585976" y="277622"/>
                </a:lnTo>
                <a:lnTo>
                  <a:pt x="1621144" y="306764"/>
                </a:lnTo>
                <a:lnTo>
                  <a:pt x="1633736" y="292491"/>
                </a:lnTo>
                <a:lnTo>
                  <a:pt x="1598168" y="263017"/>
                </a:lnTo>
                <a:lnTo>
                  <a:pt x="1583689" y="252222"/>
                </a:lnTo>
                <a:close/>
              </a:path>
              <a:path w="1685289" h="352425">
                <a:moveTo>
                  <a:pt x="1472311" y="177292"/>
                </a:moveTo>
                <a:lnTo>
                  <a:pt x="1462532" y="193675"/>
                </a:lnTo>
                <a:lnTo>
                  <a:pt x="1488567" y="209296"/>
                </a:lnTo>
                <a:lnTo>
                  <a:pt x="1526286" y="234442"/>
                </a:lnTo>
                <a:lnTo>
                  <a:pt x="1536954" y="218694"/>
                </a:lnTo>
                <a:lnTo>
                  <a:pt x="1499108" y="193421"/>
                </a:lnTo>
                <a:lnTo>
                  <a:pt x="1472311" y="177292"/>
                </a:lnTo>
                <a:close/>
              </a:path>
              <a:path w="1685289" h="352425">
                <a:moveTo>
                  <a:pt x="1353693" y="114553"/>
                </a:moveTo>
                <a:lnTo>
                  <a:pt x="1345564" y="131825"/>
                </a:lnTo>
                <a:lnTo>
                  <a:pt x="1386586" y="151384"/>
                </a:lnTo>
                <a:lnTo>
                  <a:pt x="1413256" y="165608"/>
                </a:lnTo>
                <a:lnTo>
                  <a:pt x="1422273" y="148844"/>
                </a:lnTo>
                <a:lnTo>
                  <a:pt x="1395602" y="134493"/>
                </a:lnTo>
                <a:lnTo>
                  <a:pt x="1353693" y="114553"/>
                </a:lnTo>
                <a:close/>
              </a:path>
              <a:path w="1685289" h="352425">
                <a:moveTo>
                  <a:pt x="1228725" y="64770"/>
                </a:moveTo>
                <a:lnTo>
                  <a:pt x="1223010" y="82931"/>
                </a:lnTo>
                <a:lnTo>
                  <a:pt x="1226820" y="84200"/>
                </a:lnTo>
                <a:lnTo>
                  <a:pt x="1280922" y="103886"/>
                </a:lnTo>
                <a:lnTo>
                  <a:pt x="1293495" y="109220"/>
                </a:lnTo>
                <a:lnTo>
                  <a:pt x="1300861" y="91694"/>
                </a:lnTo>
                <a:lnTo>
                  <a:pt x="1288288" y="86360"/>
                </a:lnTo>
                <a:lnTo>
                  <a:pt x="1233424" y="66294"/>
                </a:lnTo>
                <a:lnTo>
                  <a:pt x="1228725" y="64770"/>
                </a:lnTo>
                <a:close/>
              </a:path>
              <a:path w="1685289" h="352425">
                <a:moveTo>
                  <a:pt x="1099312" y="29210"/>
                </a:moveTo>
                <a:lnTo>
                  <a:pt x="1095375" y="47751"/>
                </a:lnTo>
                <a:lnTo>
                  <a:pt x="1116965" y="52450"/>
                </a:lnTo>
                <a:lnTo>
                  <a:pt x="1168781" y="66039"/>
                </a:lnTo>
                <a:lnTo>
                  <a:pt x="1173734" y="47625"/>
                </a:lnTo>
                <a:lnTo>
                  <a:pt x="1121918" y="34036"/>
                </a:lnTo>
                <a:lnTo>
                  <a:pt x="1099312" y="29210"/>
                </a:lnTo>
                <a:close/>
              </a:path>
              <a:path w="1685289" h="352425">
                <a:moveTo>
                  <a:pt x="966978" y="7365"/>
                </a:moveTo>
                <a:lnTo>
                  <a:pt x="964692" y="26288"/>
                </a:lnTo>
                <a:lnTo>
                  <a:pt x="1005459" y="31114"/>
                </a:lnTo>
                <a:lnTo>
                  <a:pt x="1039749" y="36957"/>
                </a:lnTo>
                <a:lnTo>
                  <a:pt x="1042797" y="18161"/>
                </a:lnTo>
                <a:lnTo>
                  <a:pt x="1008634" y="12446"/>
                </a:lnTo>
                <a:lnTo>
                  <a:pt x="966978" y="7365"/>
                </a:lnTo>
                <a:close/>
              </a:path>
              <a:path w="1685289" h="352425">
                <a:moveTo>
                  <a:pt x="837057" y="0"/>
                </a:moveTo>
                <a:lnTo>
                  <a:pt x="832612" y="0"/>
                </a:lnTo>
                <a:lnTo>
                  <a:pt x="832993" y="19050"/>
                </a:lnTo>
                <a:lnTo>
                  <a:pt x="836549" y="19050"/>
                </a:lnTo>
                <a:lnTo>
                  <a:pt x="892937" y="20447"/>
                </a:lnTo>
                <a:lnTo>
                  <a:pt x="908177" y="21462"/>
                </a:lnTo>
                <a:lnTo>
                  <a:pt x="909574" y="2539"/>
                </a:lnTo>
                <a:lnTo>
                  <a:pt x="894334" y="1397"/>
                </a:lnTo>
                <a:lnTo>
                  <a:pt x="837057" y="0"/>
                </a:lnTo>
                <a:close/>
              </a:path>
              <a:path w="1685289" h="352425">
                <a:moveTo>
                  <a:pt x="774954" y="1397"/>
                </a:moveTo>
                <a:lnTo>
                  <a:pt x="722884" y="4952"/>
                </a:lnTo>
                <a:lnTo>
                  <a:pt x="698627" y="7747"/>
                </a:lnTo>
                <a:lnTo>
                  <a:pt x="700786" y="26670"/>
                </a:lnTo>
                <a:lnTo>
                  <a:pt x="724281" y="24002"/>
                </a:lnTo>
                <a:lnTo>
                  <a:pt x="776224" y="20447"/>
                </a:lnTo>
                <a:lnTo>
                  <a:pt x="774954" y="1397"/>
                </a:lnTo>
                <a:close/>
              </a:path>
              <a:path w="1685289" h="352425">
                <a:moveTo>
                  <a:pt x="641604" y="15494"/>
                </a:moveTo>
                <a:lnTo>
                  <a:pt x="609854" y="20574"/>
                </a:lnTo>
                <a:lnTo>
                  <a:pt x="566293" y="29845"/>
                </a:lnTo>
                <a:lnTo>
                  <a:pt x="570230" y="48513"/>
                </a:lnTo>
                <a:lnTo>
                  <a:pt x="612902" y="39370"/>
                </a:lnTo>
                <a:lnTo>
                  <a:pt x="644652" y="34289"/>
                </a:lnTo>
                <a:lnTo>
                  <a:pt x="641604" y="15494"/>
                </a:lnTo>
                <a:close/>
              </a:path>
              <a:path w="1685289" h="352425">
                <a:moveTo>
                  <a:pt x="510413" y="43814"/>
                </a:moveTo>
                <a:lnTo>
                  <a:pt x="498602" y="46989"/>
                </a:lnTo>
                <a:lnTo>
                  <a:pt x="443992" y="64135"/>
                </a:lnTo>
                <a:lnTo>
                  <a:pt x="436753" y="66801"/>
                </a:lnTo>
                <a:lnTo>
                  <a:pt x="443357" y="84709"/>
                </a:lnTo>
                <a:lnTo>
                  <a:pt x="449707" y="82296"/>
                </a:lnTo>
                <a:lnTo>
                  <a:pt x="503555" y="65405"/>
                </a:lnTo>
                <a:lnTo>
                  <a:pt x="515239" y="62357"/>
                </a:lnTo>
                <a:lnTo>
                  <a:pt x="510413" y="43814"/>
                </a:lnTo>
                <a:close/>
              </a:path>
              <a:path w="1685289" h="352425">
                <a:moveTo>
                  <a:pt x="382905" y="86995"/>
                </a:moveTo>
                <a:lnTo>
                  <a:pt x="337185" y="106425"/>
                </a:lnTo>
                <a:lnTo>
                  <a:pt x="312928" y="118237"/>
                </a:lnTo>
                <a:lnTo>
                  <a:pt x="321183" y="135382"/>
                </a:lnTo>
                <a:lnTo>
                  <a:pt x="344678" y="123951"/>
                </a:lnTo>
                <a:lnTo>
                  <a:pt x="390398" y="104521"/>
                </a:lnTo>
                <a:lnTo>
                  <a:pt x="382905" y="86995"/>
                </a:lnTo>
                <a:close/>
              </a:path>
              <a:path w="1685289" h="352425">
                <a:moveTo>
                  <a:pt x="261620" y="144525"/>
                </a:moveTo>
                <a:lnTo>
                  <a:pt x="234442" y="159385"/>
                </a:lnTo>
                <a:lnTo>
                  <a:pt x="195580" y="183387"/>
                </a:lnTo>
                <a:lnTo>
                  <a:pt x="205486" y="199517"/>
                </a:lnTo>
                <a:lnTo>
                  <a:pt x="243586" y="176149"/>
                </a:lnTo>
                <a:lnTo>
                  <a:pt x="270764" y="161289"/>
                </a:lnTo>
                <a:lnTo>
                  <a:pt x="261620" y="144525"/>
                </a:lnTo>
                <a:close/>
              </a:path>
              <a:path w="1685289" h="352425">
                <a:moveTo>
                  <a:pt x="147574" y="215392"/>
                </a:moveTo>
                <a:lnTo>
                  <a:pt x="136398" y="223138"/>
                </a:lnTo>
                <a:lnTo>
                  <a:pt x="89408" y="258952"/>
                </a:lnTo>
                <a:lnTo>
                  <a:pt x="85979" y="261747"/>
                </a:lnTo>
                <a:lnTo>
                  <a:pt x="98298" y="276225"/>
                </a:lnTo>
                <a:lnTo>
                  <a:pt x="100837" y="274065"/>
                </a:lnTo>
                <a:lnTo>
                  <a:pt x="147193" y="238760"/>
                </a:lnTo>
                <a:lnTo>
                  <a:pt x="158369" y="231139"/>
                </a:lnTo>
                <a:lnTo>
                  <a:pt x="147574" y="215392"/>
                </a:lnTo>
                <a:close/>
              </a:path>
              <a:path w="1685289" h="352425">
                <a:moveTo>
                  <a:pt x="42037" y="299085"/>
                </a:moveTo>
                <a:lnTo>
                  <a:pt x="0" y="338582"/>
                </a:lnTo>
                <a:lnTo>
                  <a:pt x="13081" y="352425"/>
                </a:lnTo>
                <a:lnTo>
                  <a:pt x="55118" y="313055"/>
                </a:lnTo>
                <a:lnTo>
                  <a:pt x="42037" y="299085"/>
                </a:lnTo>
                <a:close/>
              </a:path>
            </a:pathLst>
          </a:custGeom>
          <a:solidFill>
            <a:srgbClr val="A6A6A6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46" name="object 40">
            <a:extLst>
              <a:ext uri="{FF2B5EF4-FFF2-40B4-BE49-F238E27FC236}">
                <a16:creationId xmlns:a16="http://schemas.microsoft.com/office/drawing/2014/main" id="{590ACCD0-44AA-448B-9CAA-5A5F105F43A0}"/>
              </a:ext>
            </a:extLst>
          </p:cNvPr>
          <p:cNvSpPr/>
          <p:nvPr/>
        </p:nvSpPr>
        <p:spPr>
          <a:xfrm>
            <a:off x="576287" y="2295005"/>
            <a:ext cx="460533" cy="425524"/>
          </a:xfrm>
          <a:prstGeom prst="rect">
            <a:avLst/>
          </a:prstGeom>
          <a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47" name="Freeform 134">
            <a:extLst>
              <a:ext uri="{FF2B5EF4-FFF2-40B4-BE49-F238E27FC236}">
                <a16:creationId xmlns:a16="http://schemas.microsoft.com/office/drawing/2014/main" id="{9429B3B8-6AC8-415B-B42D-7045E0216DA6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27443" y="2371377"/>
            <a:ext cx="157003" cy="173892"/>
          </a:xfrm>
          <a:custGeom>
            <a:avLst/>
            <a:gdLst>
              <a:gd name="T0" fmla="*/ 256 w 512"/>
              <a:gd name="T1" fmla="*/ 128 h 512"/>
              <a:gd name="T2" fmla="*/ 234 w 512"/>
              <a:gd name="T3" fmla="*/ 128 h 512"/>
              <a:gd name="T4" fmla="*/ 234 w 512"/>
              <a:gd name="T5" fmla="*/ 117 h 512"/>
              <a:gd name="T6" fmla="*/ 256 w 512"/>
              <a:gd name="T7" fmla="*/ 117 h 512"/>
              <a:gd name="T8" fmla="*/ 256 w 512"/>
              <a:gd name="T9" fmla="*/ 128 h 512"/>
              <a:gd name="T10" fmla="*/ 192 w 512"/>
              <a:gd name="T11" fmla="*/ 164 h 512"/>
              <a:gd name="T12" fmla="*/ 149 w 512"/>
              <a:gd name="T13" fmla="*/ 180 h 512"/>
              <a:gd name="T14" fmla="*/ 149 w 512"/>
              <a:gd name="T15" fmla="*/ 192 h 512"/>
              <a:gd name="T16" fmla="*/ 298 w 512"/>
              <a:gd name="T17" fmla="*/ 192 h 512"/>
              <a:gd name="T18" fmla="*/ 298 w 512"/>
              <a:gd name="T19" fmla="*/ 149 h 512"/>
              <a:gd name="T20" fmla="*/ 201 w 512"/>
              <a:gd name="T21" fmla="*/ 149 h 512"/>
              <a:gd name="T22" fmla="*/ 192 w 512"/>
              <a:gd name="T23" fmla="*/ 164 h 512"/>
              <a:gd name="T24" fmla="*/ 234 w 512"/>
              <a:gd name="T25" fmla="*/ 394 h 512"/>
              <a:gd name="T26" fmla="*/ 256 w 512"/>
              <a:gd name="T27" fmla="*/ 394 h 512"/>
              <a:gd name="T28" fmla="*/ 256 w 512"/>
              <a:gd name="T29" fmla="*/ 213 h 512"/>
              <a:gd name="T30" fmla="*/ 234 w 512"/>
              <a:gd name="T31" fmla="*/ 213 h 512"/>
              <a:gd name="T32" fmla="*/ 234 w 512"/>
              <a:gd name="T33" fmla="*/ 394 h 512"/>
              <a:gd name="T34" fmla="*/ 512 w 512"/>
              <a:gd name="T35" fmla="*/ 256 h 512"/>
              <a:gd name="T36" fmla="*/ 256 w 512"/>
              <a:gd name="T37" fmla="*/ 512 h 512"/>
              <a:gd name="T38" fmla="*/ 0 w 512"/>
              <a:gd name="T39" fmla="*/ 256 h 512"/>
              <a:gd name="T40" fmla="*/ 256 w 512"/>
              <a:gd name="T41" fmla="*/ 0 h 512"/>
              <a:gd name="T42" fmla="*/ 512 w 512"/>
              <a:gd name="T43" fmla="*/ 256 h 512"/>
              <a:gd name="T44" fmla="*/ 373 w 512"/>
              <a:gd name="T45" fmla="*/ 117 h 512"/>
              <a:gd name="T46" fmla="*/ 362 w 512"/>
              <a:gd name="T47" fmla="*/ 106 h 512"/>
              <a:gd name="T48" fmla="*/ 320 w 512"/>
              <a:gd name="T49" fmla="*/ 106 h 512"/>
              <a:gd name="T50" fmla="*/ 309 w 512"/>
              <a:gd name="T51" fmla="*/ 117 h 512"/>
              <a:gd name="T52" fmla="*/ 309 w 512"/>
              <a:gd name="T53" fmla="*/ 128 h 512"/>
              <a:gd name="T54" fmla="*/ 277 w 512"/>
              <a:gd name="T55" fmla="*/ 128 h 512"/>
              <a:gd name="T56" fmla="*/ 277 w 512"/>
              <a:gd name="T57" fmla="*/ 106 h 512"/>
              <a:gd name="T58" fmla="*/ 266 w 512"/>
              <a:gd name="T59" fmla="*/ 96 h 512"/>
              <a:gd name="T60" fmla="*/ 224 w 512"/>
              <a:gd name="T61" fmla="*/ 96 h 512"/>
              <a:gd name="T62" fmla="*/ 213 w 512"/>
              <a:gd name="T63" fmla="*/ 106 h 512"/>
              <a:gd name="T64" fmla="*/ 213 w 512"/>
              <a:gd name="T65" fmla="*/ 128 h 512"/>
              <a:gd name="T66" fmla="*/ 192 w 512"/>
              <a:gd name="T67" fmla="*/ 128 h 512"/>
              <a:gd name="T68" fmla="*/ 181 w 512"/>
              <a:gd name="T69" fmla="*/ 138 h 512"/>
              <a:gd name="T70" fmla="*/ 177 w 512"/>
              <a:gd name="T71" fmla="*/ 149 h 512"/>
              <a:gd name="T72" fmla="*/ 138 w 512"/>
              <a:gd name="T73" fmla="*/ 160 h 512"/>
              <a:gd name="T74" fmla="*/ 131 w 512"/>
              <a:gd name="T75" fmla="*/ 163 h 512"/>
              <a:gd name="T76" fmla="*/ 128 w 512"/>
              <a:gd name="T77" fmla="*/ 170 h 512"/>
              <a:gd name="T78" fmla="*/ 128 w 512"/>
              <a:gd name="T79" fmla="*/ 202 h 512"/>
              <a:gd name="T80" fmla="*/ 138 w 512"/>
              <a:gd name="T81" fmla="*/ 213 h 512"/>
              <a:gd name="T82" fmla="*/ 213 w 512"/>
              <a:gd name="T83" fmla="*/ 213 h 512"/>
              <a:gd name="T84" fmla="*/ 213 w 512"/>
              <a:gd name="T85" fmla="*/ 405 h 512"/>
              <a:gd name="T86" fmla="*/ 224 w 512"/>
              <a:gd name="T87" fmla="*/ 416 h 512"/>
              <a:gd name="T88" fmla="*/ 266 w 512"/>
              <a:gd name="T89" fmla="*/ 416 h 512"/>
              <a:gd name="T90" fmla="*/ 277 w 512"/>
              <a:gd name="T91" fmla="*/ 405 h 512"/>
              <a:gd name="T92" fmla="*/ 277 w 512"/>
              <a:gd name="T93" fmla="*/ 213 h 512"/>
              <a:gd name="T94" fmla="*/ 309 w 512"/>
              <a:gd name="T95" fmla="*/ 213 h 512"/>
              <a:gd name="T96" fmla="*/ 309 w 512"/>
              <a:gd name="T97" fmla="*/ 224 h 512"/>
              <a:gd name="T98" fmla="*/ 320 w 512"/>
              <a:gd name="T99" fmla="*/ 234 h 512"/>
              <a:gd name="T100" fmla="*/ 362 w 512"/>
              <a:gd name="T101" fmla="*/ 234 h 512"/>
              <a:gd name="T102" fmla="*/ 373 w 512"/>
              <a:gd name="T103" fmla="*/ 224 h 512"/>
              <a:gd name="T104" fmla="*/ 373 w 512"/>
              <a:gd name="T105" fmla="*/ 117 h 512"/>
              <a:gd name="T106" fmla="*/ 330 w 512"/>
              <a:gd name="T107" fmla="*/ 213 h 512"/>
              <a:gd name="T108" fmla="*/ 352 w 512"/>
              <a:gd name="T109" fmla="*/ 213 h 512"/>
              <a:gd name="T110" fmla="*/ 352 w 512"/>
              <a:gd name="T111" fmla="*/ 128 h 512"/>
              <a:gd name="T112" fmla="*/ 330 w 512"/>
              <a:gd name="T113" fmla="*/ 128 h 512"/>
              <a:gd name="T114" fmla="*/ 330 w 512"/>
              <a:gd name="T115" fmla="*/ 213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512" h="512">
                <a:moveTo>
                  <a:pt x="256" y="128"/>
                </a:moveTo>
                <a:cubicBezTo>
                  <a:pt x="234" y="128"/>
                  <a:pt x="234" y="128"/>
                  <a:pt x="234" y="128"/>
                </a:cubicBezTo>
                <a:cubicBezTo>
                  <a:pt x="234" y="117"/>
                  <a:pt x="234" y="117"/>
                  <a:pt x="234" y="117"/>
                </a:cubicBezTo>
                <a:cubicBezTo>
                  <a:pt x="256" y="117"/>
                  <a:pt x="256" y="117"/>
                  <a:pt x="256" y="117"/>
                </a:cubicBezTo>
                <a:lnTo>
                  <a:pt x="256" y="128"/>
                </a:lnTo>
                <a:close/>
                <a:moveTo>
                  <a:pt x="192" y="164"/>
                </a:moveTo>
                <a:cubicBezTo>
                  <a:pt x="180" y="176"/>
                  <a:pt x="161" y="179"/>
                  <a:pt x="149" y="180"/>
                </a:cubicBezTo>
                <a:cubicBezTo>
                  <a:pt x="149" y="192"/>
                  <a:pt x="149" y="192"/>
                  <a:pt x="149" y="192"/>
                </a:cubicBezTo>
                <a:cubicBezTo>
                  <a:pt x="298" y="192"/>
                  <a:pt x="298" y="192"/>
                  <a:pt x="298" y="192"/>
                </a:cubicBezTo>
                <a:cubicBezTo>
                  <a:pt x="298" y="149"/>
                  <a:pt x="298" y="149"/>
                  <a:pt x="298" y="149"/>
                </a:cubicBezTo>
                <a:cubicBezTo>
                  <a:pt x="201" y="149"/>
                  <a:pt x="201" y="149"/>
                  <a:pt x="201" y="149"/>
                </a:cubicBezTo>
                <a:cubicBezTo>
                  <a:pt x="199" y="155"/>
                  <a:pt x="196" y="160"/>
                  <a:pt x="192" y="164"/>
                </a:cubicBezTo>
                <a:close/>
                <a:moveTo>
                  <a:pt x="234" y="394"/>
                </a:moveTo>
                <a:cubicBezTo>
                  <a:pt x="256" y="394"/>
                  <a:pt x="256" y="394"/>
                  <a:pt x="256" y="394"/>
                </a:cubicBezTo>
                <a:cubicBezTo>
                  <a:pt x="256" y="213"/>
                  <a:pt x="256" y="213"/>
                  <a:pt x="256" y="213"/>
                </a:cubicBezTo>
                <a:cubicBezTo>
                  <a:pt x="234" y="213"/>
                  <a:pt x="234" y="213"/>
                  <a:pt x="234" y="213"/>
                </a:cubicBezTo>
                <a:lnTo>
                  <a:pt x="234" y="394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73" y="117"/>
                </a:moveTo>
                <a:cubicBezTo>
                  <a:pt x="373" y="111"/>
                  <a:pt x="368" y="106"/>
                  <a:pt x="362" y="106"/>
                </a:cubicBezTo>
                <a:cubicBezTo>
                  <a:pt x="320" y="106"/>
                  <a:pt x="320" y="106"/>
                  <a:pt x="320" y="106"/>
                </a:cubicBezTo>
                <a:cubicBezTo>
                  <a:pt x="314" y="106"/>
                  <a:pt x="309" y="111"/>
                  <a:pt x="309" y="117"/>
                </a:cubicBezTo>
                <a:cubicBezTo>
                  <a:pt x="309" y="128"/>
                  <a:pt x="309" y="128"/>
                  <a:pt x="309" y="128"/>
                </a:cubicBezTo>
                <a:cubicBezTo>
                  <a:pt x="277" y="128"/>
                  <a:pt x="277" y="128"/>
                  <a:pt x="277" y="128"/>
                </a:cubicBezTo>
                <a:cubicBezTo>
                  <a:pt x="277" y="106"/>
                  <a:pt x="277" y="106"/>
                  <a:pt x="277" y="106"/>
                </a:cubicBezTo>
                <a:cubicBezTo>
                  <a:pt x="277" y="100"/>
                  <a:pt x="272" y="96"/>
                  <a:pt x="266" y="96"/>
                </a:cubicBezTo>
                <a:cubicBezTo>
                  <a:pt x="224" y="96"/>
                  <a:pt x="224" y="96"/>
                  <a:pt x="224" y="96"/>
                </a:cubicBezTo>
                <a:cubicBezTo>
                  <a:pt x="218" y="96"/>
                  <a:pt x="213" y="100"/>
                  <a:pt x="213" y="106"/>
                </a:cubicBezTo>
                <a:cubicBezTo>
                  <a:pt x="213" y="128"/>
                  <a:pt x="213" y="128"/>
                  <a:pt x="213" y="128"/>
                </a:cubicBezTo>
                <a:cubicBezTo>
                  <a:pt x="192" y="128"/>
                  <a:pt x="192" y="128"/>
                  <a:pt x="192" y="128"/>
                </a:cubicBezTo>
                <a:cubicBezTo>
                  <a:pt x="186" y="128"/>
                  <a:pt x="181" y="132"/>
                  <a:pt x="181" y="138"/>
                </a:cubicBezTo>
                <a:cubicBezTo>
                  <a:pt x="181" y="143"/>
                  <a:pt x="180" y="146"/>
                  <a:pt x="177" y="149"/>
                </a:cubicBezTo>
                <a:cubicBezTo>
                  <a:pt x="167" y="158"/>
                  <a:pt x="146" y="160"/>
                  <a:pt x="138" y="160"/>
                </a:cubicBezTo>
                <a:cubicBezTo>
                  <a:pt x="136" y="160"/>
                  <a:pt x="133" y="161"/>
                  <a:pt x="131" y="163"/>
                </a:cubicBezTo>
                <a:cubicBezTo>
                  <a:pt x="129" y="165"/>
                  <a:pt x="128" y="167"/>
                  <a:pt x="128" y="170"/>
                </a:cubicBezTo>
                <a:cubicBezTo>
                  <a:pt x="128" y="202"/>
                  <a:pt x="128" y="202"/>
                  <a:pt x="128" y="202"/>
                </a:cubicBezTo>
                <a:cubicBezTo>
                  <a:pt x="128" y="208"/>
                  <a:pt x="132" y="213"/>
                  <a:pt x="138" y="213"/>
                </a:cubicBezTo>
                <a:cubicBezTo>
                  <a:pt x="213" y="213"/>
                  <a:pt x="213" y="213"/>
                  <a:pt x="213" y="213"/>
                </a:cubicBezTo>
                <a:cubicBezTo>
                  <a:pt x="213" y="405"/>
                  <a:pt x="213" y="405"/>
                  <a:pt x="213" y="405"/>
                </a:cubicBezTo>
                <a:cubicBezTo>
                  <a:pt x="213" y="411"/>
                  <a:pt x="218" y="416"/>
                  <a:pt x="224" y="416"/>
                </a:cubicBezTo>
                <a:cubicBezTo>
                  <a:pt x="266" y="416"/>
                  <a:pt x="266" y="416"/>
                  <a:pt x="266" y="416"/>
                </a:cubicBezTo>
                <a:cubicBezTo>
                  <a:pt x="272" y="416"/>
                  <a:pt x="277" y="411"/>
                  <a:pt x="277" y="405"/>
                </a:cubicBezTo>
                <a:cubicBezTo>
                  <a:pt x="277" y="213"/>
                  <a:pt x="277" y="213"/>
                  <a:pt x="277" y="213"/>
                </a:cubicBezTo>
                <a:cubicBezTo>
                  <a:pt x="309" y="213"/>
                  <a:pt x="309" y="213"/>
                  <a:pt x="309" y="213"/>
                </a:cubicBezTo>
                <a:cubicBezTo>
                  <a:pt x="309" y="224"/>
                  <a:pt x="309" y="224"/>
                  <a:pt x="309" y="224"/>
                </a:cubicBezTo>
                <a:cubicBezTo>
                  <a:pt x="309" y="230"/>
                  <a:pt x="314" y="234"/>
                  <a:pt x="320" y="234"/>
                </a:cubicBezTo>
                <a:cubicBezTo>
                  <a:pt x="362" y="234"/>
                  <a:pt x="362" y="234"/>
                  <a:pt x="362" y="234"/>
                </a:cubicBezTo>
                <a:cubicBezTo>
                  <a:pt x="368" y="234"/>
                  <a:pt x="373" y="230"/>
                  <a:pt x="373" y="224"/>
                </a:cubicBezTo>
                <a:lnTo>
                  <a:pt x="373" y="117"/>
                </a:lnTo>
                <a:close/>
                <a:moveTo>
                  <a:pt x="330" y="213"/>
                </a:moveTo>
                <a:cubicBezTo>
                  <a:pt x="352" y="213"/>
                  <a:pt x="352" y="213"/>
                  <a:pt x="352" y="213"/>
                </a:cubicBezTo>
                <a:cubicBezTo>
                  <a:pt x="352" y="128"/>
                  <a:pt x="352" y="128"/>
                  <a:pt x="352" y="128"/>
                </a:cubicBezTo>
                <a:cubicBezTo>
                  <a:pt x="330" y="128"/>
                  <a:pt x="330" y="128"/>
                  <a:pt x="330" y="128"/>
                </a:cubicBezTo>
                <a:lnTo>
                  <a:pt x="330" y="213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121446" tIns="60723" rIns="121446" bIns="60723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1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" name="object 65">
            <a:extLst>
              <a:ext uri="{FF2B5EF4-FFF2-40B4-BE49-F238E27FC236}">
                <a16:creationId xmlns:a16="http://schemas.microsoft.com/office/drawing/2014/main" id="{8C16D7B1-BDFB-4DD5-941C-97DE3DDBE1EA}"/>
              </a:ext>
            </a:extLst>
          </p:cNvPr>
          <p:cNvSpPr/>
          <p:nvPr/>
        </p:nvSpPr>
        <p:spPr>
          <a:xfrm rot="20929925">
            <a:off x="1056786" y="1643113"/>
            <a:ext cx="1615196" cy="240573"/>
          </a:xfrm>
          <a:custGeom>
            <a:avLst/>
            <a:gdLst/>
            <a:ahLst/>
            <a:cxnLst/>
            <a:rect l="l" t="t" r="r" b="b"/>
            <a:pathLst>
              <a:path w="1685289" h="352425">
                <a:moveTo>
                  <a:pt x="1621144" y="306764"/>
                </a:moveTo>
                <a:lnTo>
                  <a:pt x="1602486" y="327913"/>
                </a:lnTo>
                <a:lnTo>
                  <a:pt x="1684782" y="349758"/>
                </a:lnTo>
                <a:lnTo>
                  <a:pt x="1670790" y="315087"/>
                </a:lnTo>
                <a:lnTo>
                  <a:pt x="1631188" y="315087"/>
                </a:lnTo>
                <a:lnTo>
                  <a:pt x="1621144" y="306764"/>
                </a:lnTo>
                <a:close/>
              </a:path>
              <a:path w="1685289" h="352425">
                <a:moveTo>
                  <a:pt x="1633736" y="292491"/>
                </a:moveTo>
                <a:lnTo>
                  <a:pt x="1621144" y="306764"/>
                </a:lnTo>
                <a:lnTo>
                  <a:pt x="1631188" y="315087"/>
                </a:lnTo>
                <a:lnTo>
                  <a:pt x="1643380" y="300482"/>
                </a:lnTo>
                <a:lnTo>
                  <a:pt x="1633736" y="292491"/>
                </a:lnTo>
                <a:close/>
              </a:path>
              <a:path w="1685289" h="352425">
                <a:moveTo>
                  <a:pt x="1652905" y="270763"/>
                </a:moveTo>
                <a:lnTo>
                  <a:pt x="1633736" y="292491"/>
                </a:lnTo>
                <a:lnTo>
                  <a:pt x="1643380" y="300482"/>
                </a:lnTo>
                <a:lnTo>
                  <a:pt x="1631188" y="315087"/>
                </a:lnTo>
                <a:lnTo>
                  <a:pt x="1670790" y="315087"/>
                </a:lnTo>
                <a:lnTo>
                  <a:pt x="1652905" y="270763"/>
                </a:lnTo>
                <a:close/>
              </a:path>
              <a:path w="1685289" h="352425">
                <a:moveTo>
                  <a:pt x="1583689" y="252222"/>
                </a:moveTo>
                <a:lnTo>
                  <a:pt x="1572387" y="267588"/>
                </a:lnTo>
                <a:lnTo>
                  <a:pt x="1585976" y="277622"/>
                </a:lnTo>
                <a:lnTo>
                  <a:pt x="1621144" y="306764"/>
                </a:lnTo>
                <a:lnTo>
                  <a:pt x="1633736" y="292491"/>
                </a:lnTo>
                <a:lnTo>
                  <a:pt x="1598168" y="263017"/>
                </a:lnTo>
                <a:lnTo>
                  <a:pt x="1583689" y="252222"/>
                </a:lnTo>
                <a:close/>
              </a:path>
              <a:path w="1685289" h="352425">
                <a:moveTo>
                  <a:pt x="1472311" y="177292"/>
                </a:moveTo>
                <a:lnTo>
                  <a:pt x="1462532" y="193675"/>
                </a:lnTo>
                <a:lnTo>
                  <a:pt x="1488567" y="209296"/>
                </a:lnTo>
                <a:lnTo>
                  <a:pt x="1526286" y="234442"/>
                </a:lnTo>
                <a:lnTo>
                  <a:pt x="1536954" y="218694"/>
                </a:lnTo>
                <a:lnTo>
                  <a:pt x="1499108" y="193421"/>
                </a:lnTo>
                <a:lnTo>
                  <a:pt x="1472311" y="177292"/>
                </a:lnTo>
                <a:close/>
              </a:path>
              <a:path w="1685289" h="352425">
                <a:moveTo>
                  <a:pt x="1353693" y="114553"/>
                </a:moveTo>
                <a:lnTo>
                  <a:pt x="1345564" y="131825"/>
                </a:lnTo>
                <a:lnTo>
                  <a:pt x="1386586" y="151384"/>
                </a:lnTo>
                <a:lnTo>
                  <a:pt x="1413256" y="165608"/>
                </a:lnTo>
                <a:lnTo>
                  <a:pt x="1422273" y="148844"/>
                </a:lnTo>
                <a:lnTo>
                  <a:pt x="1395602" y="134493"/>
                </a:lnTo>
                <a:lnTo>
                  <a:pt x="1353693" y="114553"/>
                </a:lnTo>
                <a:close/>
              </a:path>
              <a:path w="1685289" h="352425">
                <a:moveTo>
                  <a:pt x="1228725" y="64770"/>
                </a:moveTo>
                <a:lnTo>
                  <a:pt x="1223010" y="82931"/>
                </a:lnTo>
                <a:lnTo>
                  <a:pt x="1226820" y="84200"/>
                </a:lnTo>
                <a:lnTo>
                  <a:pt x="1280922" y="103886"/>
                </a:lnTo>
                <a:lnTo>
                  <a:pt x="1293495" y="109220"/>
                </a:lnTo>
                <a:lnTo>
                  <a:pt x="1300861" y="91694"/>
                </a:lnTo>
                <a:lnTo>
                  <a:pt x="1288288" y="86360"/>
                </a:lnTo>
                <a:lnTo>
                  <a:pt x="1233424" y="66294"/>
                </a:lnTo>
                <a:lnTo>
                  <a:pt x="1228725" y="64770"/>
                </a:lnTo>
                <a:close/>
              </a:path>
              <a:path w="1685289" h="352425">
                <a:moveTo>
                  <a:pt x="1099312" y="29210"/>
                </a:moveTo>
                <a:lnTo>
                  <a:pt x="1095375" y="47751"/>
                </a:lnTo>
                <a:lnTo>
                  <a:pt x="1116965" y="52450"/>
                </a:lnTo>
                <a:lnTo>
                  <a:pt x="1168781" y="66039"/>
                </a:lnTo>
                <a:lnTo>
                  <a:pt x="1173734" y="47625"/>
                </a:lnTo>
                <a:lnTo>
                  <a:pt x="1121918" y="34036"/>
                </a:lnTo>
                <a:lnTo>
                  <a:pt x="1099312" y="29210"/>
                </a:lnTo>
                <a:close/>
              </a:path>
              <a:path w="1685289" h="352425">
                <a:moveTo>
                  <a:pt x="966978" y="7365"/>
                </a:moveTo>
                <a:lnTo>
                  <a:pt x="964692" y="26288"/>
                </a:lnTo>
                <a:lnTo>
                  <a:pt x="1005459" y="31114"/>
                </a:lnTo>
                <a:lnTo>
                  <a:pt x="1039749" y="36957"/>
                </a:lnTo>
                <a:lnTo>
                  <a:pt x="1042797" y="18161"/>
                </a:lnTo>
                <a:lnTo>
                  <a:pt x="1008634" y="12446"/>
                </a:lnTo>
                <a:lnTo>
                  <a:pt x="966978" y="7365"/>
                </a:lnTo>
                <a:close/>
              </a:path>
              <a:path w="1685289" h="352425">
                <a:moveTo>
                  <a:pt x="837057" y="0"/>
                </a:moveTo>
                <a:lnTo>
                  <a:pt x="832612" y="0"/>
                </a:lnTo>
                <a:lnTo>
                  <a:pt x="832993" y="19050"/>
                </a:lnTo>
                <a:lnTo>
                  <a:pt x="836549" y="19050"/>
                </a:lnTo>
                <a:lnTo>
                  <a:pt x="892937" y="20447"/>
                </a:lnTo>
                <a:lnTo>
                  <a:pt x="908177" y="21462"/>
                </a:lnTo>
                <a:lnTo>
                  <a:pt x="909574" y="2539"/>
                </a:lnTo>
                <a:lnTo>
                  <a:pt x="894334" y="1397"/>
                </a:lnTo>
                <a:lnTo>
                  <a:pt x="837057" y="0"/>
                </a:lnTo>
                <a:close/>
              </a:path>
              <a:path w="1685289" h="352425">
                <a:moveTo>
                  <a:pt x="774954" y="1397"/>
                </a:moveTo>
                <a:lnTo>
                  <a:pt x="722884" y="4952"/>
                </a:lnTo>
                <a:lnTo>
                  <a:pt x="698627" y="7747"/>
                </a:lnTo>
                <a:lnTo>
                  <a:pt x="700786" y="26670"/>
                </a:lnTo>
                <a:lnTo>
                  <a:pt x="724281" y="24002"/>
                </a:lnTo>
                <a:lnTo>
                  <a:pt x="776224" y="20447"/>
                </a:lnTo>
                <a:lnTo>
                  <a:pt x="774954" y="1397"/>
                </a:lnTo>
                <a:close/>
              </a:path>
              <a:path w="1685289" h="352425">
                <a:moveTo>
                  <a:pt x="641604" y="15494"/>
                </a:moveTo>
                <a:lnTo>
                  <a:pt x="609854" y="20574"/>
                </a:lnTo>
                <a:lnTo>
                  <a:pt x="566293" y="29845"/>
                </a:lnTo>
                <a:lnTo>
                  <a:pt x="570230" y="48513"/>
                </a:lnTo>
                <a:lnTo>
                  <a:pt x="612902" y="39370"/>
                </a:lnTo>
                <a:lnTo>
                  <a:pt x="644652" y="34289"/>
                </a:lnTo>
                <a:lnTo>
                  <a:pt x="641604" y="15494"/>
                </a:lnTo>
                <a:close/>
              </a:path>
              <a:path w="1685289" h="352425">
                <a:moveTo>
                  <a:pt x="510413" y="43814"/>
                </a:moveTo>
                <a:lnTo>
                  <a:pt x="498602" y="46989"/>
                </a:lnTo>
                <a:lnTo>
                  <a:pt x="443992" y="64135"/>
                </a:lnTo>
                <a:lnTo>
                  <a:pt x="436753" y="66801"/>
                </a:lnTo>
                <a:lnTo>
                  <a:pt x="443357" y="84709"/>
                </a:lnTo>
                <a:lnTo>
                  <a:pt x="449707" y="82296"/>
                </a:lnTo>
                <a:lnTo>
                  <a:pt x="503555" y="65405"/>
                </a:lnTo>
                <a:lnTo>
                  <a:pt x="515239" y="62357"/>
                </a:lnTo>
                <a:lnTo>
                  <a:pt x="510413" y="43814"/>
                </a:lnTo>
                <a:close/>
              </a:path>
              <a:path w="1685289" h="352425">
                <a:moveTo>
                  <a:pt x="382905" y="86995"/>
                </a:moveTo>
                <a:lnTo>
                  <a:pt x="337185" y="106425"/>
                </a:lnTo>
                <a:lnTo>
                  <a:pt x="312928" y="118237"/>
                </a:lnTo>
                <a:lnTo>
                  <a:pt x="321183" y="135382"/>
                </a:lnTo>
                <a:lnTo>
                  <a:pt x="344678" y="123951"/>
                </a:lnTo>
                <a:lnTo>
                  <a:pt x="390398" y="104521"/>
                </a:lnTo>
                <a:lnTo>
                  <a:pt x="382905" y="86995"/>
                </a:lnTo>
                <a:close/>
              </a:path>
              <a:path w="1685289" h="352425">
                <a:moveTo>
                  <a:pt x="261620" y="144525"/>
                </a:moveTo>
                <a:lnTo>
                  <a:pt x="234442" y="159385"/>
                </a:lnTo>
                <a:lnTo>
                  <a:pt x="195580" y="183387"/>
                </a:lnTo>
                <a:lnTo>
                  <a:pt x="205486" y="199517"/>
                </a:lnTo>
                <a:lnTo>
                  <a:pt x="243586" y="176149"/>
                </a:lnTo>
                <a:lnTo>
                  <a:pt x="270764" y="161289"/>
                </a:lnTo>
                <a:lnTo>
                  <a:pt x="261620" y="144525"/>
                </a:lnTo>
                <a:close/>
              </a:path>
              <a:path w="1685289" h="352425">
                <a:moveTo>
                  <a:pt x="147574" y="215392"/>
                </a:moveTo>
                <a:lnTo>
                  <a:pt x="136398" y="223138"/>
                </a:lnTo>
                <a:lnTo>
                  <a:pt x="89408" y="258952"/>
                </a:lnTo>
                <a:lnTo>
                  <a:pt x="85979" y="261747"/>
                </a:lnTo>
                <a:lnTo>
                  <a:pt x="98298" y="276225"/>
                </a:lnTo>
                <a:lnTo>
                  <a:pt x="100837" y="274065"/>
                </a:lnTo>
                <a:lnTo>
                  <a:pt x="147193" y="238760"/>
                </a:lnTo>
                <a:lnTo>
                  <a:pt x="158369" y="231139"/>
                </a:lnTo>
                <a:lnTo>
                  <a:pt x="147574" y="215392"/>
                </a:lnTo>
                <a:close/>
              </a:path>
              <a:path w="1685289" h="352425">
                <a:moveTo>
                  <a:pt x="42037" y="299085"/>
                </a:moveTo>
                <a:lnTo>
                  <a:pt x="0" y="338582"/>
                </a:lnTo>
                <a:lnTo>
                  <a:pt x="13081" y="352425"/>
                </a:lnTo>
                <a:lnTo>
                  <a:pt x="55118" y="313055"/>
                </a:lnTo>
                <a:lnTo>
                  <a:pt x="42037" y="299085"/>
                </a:lnTo>
                <a:close/>
              </a:path>
            </a:pathLst>
          </a:custGeom>
          <a:solidFill>
            <a:srgbClr val="A6A6A6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8F1AF45-88CD-443E-9DEA-CF87C97B64C7}"/>
              </a:ext>
            </a:extLst>
          </p:cNvPr>
          <p:cNvSpPr txBox="1"/>
          <p:nvPr/>
        </p:nvSpPr>
        <p:spPr>
          <a:xfrm>
            <a:off x="1073477" y="1343179"/>
            <a:ext cx="1150366" cy="1977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-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Ikke-faglig innkjøpsbehov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58DA560-7E34-44DB-84E7-F276C28ED0E5}"/>
              </a:ext>
            </a:extLst>
          </p:cNvPr>
          <p:cNvSpPr txBox="1"/>
          <p:nvPr/>
        </p:nvSpPr>
        <p:spPr>
          <a:xfrm>
            <a:off x="1364790" y="2765109"/>
            <a:ext cx="1058086" cy="3610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-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Faglig</a:t>
            </a:r>
            <a:r>
              <a:rPr kumimoji="0" lang="nb-NO" sz="900" b="0" i="0" u="none" strike="noStrike" kern="1200" cap="none" spc="-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</a:t>
            </a:r>
            <a:r>
              <a:rPr kumimoji="0" lang="nb-NO" sz="900" b="1" i="0" u="none" strike="noStrike" kern="1200" cap="none" spc="-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innkjøpsbehov</a:t>
            </a:r>
          </a:p>
        </p:txBody>
      </p: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DA0FD5BE-61C5-4307-9BA2-A698941C1960}"/>
              </a:ext>
            </a:extLst>
          </p:cNvPr>
          <p:cNvGrpSpPr/>
          <p:nvPr/>
        </p:nvGrpSpPr>
        <p:grpSpPr>
          <a:xfrm>
            <a:off x="7721475" y="3174086"/>
            <a:ext cx="1391579" cy="1248063"/>
            <a:chOff x="2682578" y="3293298"/>
            <a:chExt cx="1360606" cy="1224343"/>
          </a:xfrm>
        </p:grpSpPr>
        <p:sp>
          <p:nvSpPr>
            <p:cNvPr id="105" name="object 17">
              <a:extLst>
                <a:ext uri="{FF2B5EF4-FFF2-40B4-BE49-F238E27FC236}">
                  <a16:creationId xmlns:a16="http://schemas.microsoft.com/office/drawing/2014/main" id="{FD70F499-3A8C-4D7D-AF22-1281072B5A74}"/>
                </a:ext>
              </a:extLst>
            </p:cNvPr>
            <p:cNvSpPr/>
            <p:nvPr/>
          </p:nvSpPr>
          <p:spPr>
            <a:xfrm>
              <a:off x="2751325" y="3356273"/>
              <a:ext cx="1041190" cy="1161368"/>
            </a:xfrm>
            <a:custGeom>
              <a:avLst/>
              <a:gdLst/>
              <a:ahLst/>
              <a:cxnLst/>
              <a:rect l="l" t="t" r="r" b="b"/>
              <a:pathLst>
                <a:path w="1259839" h="1405254">
                  <a:moveTo>
                    <a:pt x="556132" y="0"/>
                  </a:moveTo>
                  <a:lnTo>
                    <a:pt x="604293" y="1620"/>
                  </a:lnTo>
                  <a:lnTo>
                    <a:pt x="651582" y="6414"/>
                  </a:lnTo>
                  <a:lnTo>
                    <a:pt x="697894" y="14274"/>
                  </a:lnTo>
                  <a:lnTo>
                    <a:pt x="743124" y="25098"/>
                  </a:lnTo>
                  <a:lnTo>
                    <a:pt x="787169" y="38780"/>
                  </a:lnTo>
                  <a:lnTo>
                    <a:pt x="829923" y="55215"/>
                  </a:lnTo>
                  <a:lnTo>
                    <a:pt x="871281" y="74299"/>
                  </a:lnTo>
                  <a:lnTo>
                    <a:pt x="911140" y="95927"/>
                  </a:lnTo>
                  <a:lnTo>
                    <a:pt x="949394" y="119994"/>
                  </a:lnTo>
                  <a:lnTo>
                    <a:pt x="985938" y="146397"/>
                  </a:lnTo>
                  <a:lnTo>
                    <a:pt x="1020669" y="175029"/>
                  </a:lnTo>
                  <a:lnTo>
                    <a:pt x="1053480" y="205787"/>
                  </a:lnTo>
                  <a:lnTo>
                    <a:pt x="1084269" y="238566"/>
                  </a:lnTo>
                  <a:lnTo>
                    <a:pt x="1112929" y="273261"/>
                  </a:lnTo>
                  <a:lnTo>
                    <a:pt x="1139356" y="309767"/>
                  </a:lnTo>
                  <a:lnTo>
                    <a:pt x="1163447" y="347980"/>
                  </a:lnTo>
                  <a:lnTo>
                    <a:pt x="1185094" y="387794"/>
                  </a:lnTo>
                  <a:lnTo>
                    <a:pt x="1204196" y="429107"/>
                  </a:lnTo>
                  <a:lnTo>
                    <a:pt x="1220645" y="471812"/>
                  </a:lnTo>
                  <a:lnTo>
                    <a:pt x="1234339" y="515805"/>
                  </a:lnTo>
                  <a:lnTo>
                    <a:pt x="1245172" y="560981"/>
                  </a:lnTo>
                  <a:lnTo>
                    <a:pt x="1253039" y="607236"/>
                  </a:lnTo>
                  <a:lnTo>
                    <a:pt x="1257836" y="654465"/>
                  </a:lnTo>
                  <a:lnTo>
                    <a:pt x="1259459" y="702563"/>
                  </a:lnTo>
                  <a:lnTo>
                    <a:pt x="1257836" y="750662"/>
                  </a:lnTo>
                  <a:lnTo>
                    <a:pt x="1253039" y="797891"/>
                  </a:lnTo>
                  <a:lnTo>
                    <a:pt x="1245172" y="844146"/>
                  </a:lnTo>
                  <a:lnTo>
                    <a:pt x="1234339" y="889322"/>
                  </a:lnTo>
                  <a:lnTo>
                    <a:pt x="1220645" y="933315"/>
                  </a:lnTo>
                  <a:lnTo>
                    <a:pt x="1204196" y="976020"/>
                  </a:lnTo>
                  <a:lnTo>
                    <a:pt x="1185094" y="1017333"/>
                  </a:lnTo>
                  <a:lnTo>
                    <a:pt x="1163447" y="1057147"/>
                  </a:lnTo>
                  <a:lnTo>
                    <a:pt x="1139356" y="1095360"/>
                  </a:lnTo>
                  <a:lnTo>
                    <a:pt x="1112929" y="1131866"/>
                  </a:lnTo>
                  <a:lnTo>
                    <a:pt x="1084269" y="1166561"/>
                  </a:lnTo>
                  <a:lnTo>
                    <a:pt x="1053480" y="1199340"/>
                  </a:lnTo>
                  <a:lnTo>
                    <a:pt x="1020669" y="1230098"/>
                  </a:lnTo>
                  <a:lnTo>
                    <a:pt x="985938" y="1258730"/>
                  </a:lnTo>
                  <a:lnTo>
                    <a:pt x="949394" y="1285133"/>
                  </a:lnTo>
                  <a:lnTo>
                    <a:pt x="911140" y="1309200"/>
                  </a:lnTo>
                  <a:lnTo>
                    <a:pt x="871281" y="1330828"/>
                  </a:lnTo>
                  <a:lnTo>
                    <a:pt x="829923" y="1349912"/>
                  </a:lnTo>
                  <a:lnTo>
                    <a:pt x="787169" y="1366347"/>
                  </a:lnTo>
                  <a:lnTo>
                    <a:pt x="743124" y="1380029"/>
                  </a:lnTo>
                  <a:lnTo>
                    <a:pt x="697894" y="1390853"/>
                  </a:lnTo>
                  <a:lnTo>
                    <a:pt x="651582" y="1398713"/>
                  </a:lnTo>
                  <a:lnTo>
                    <a:pt x="604293" y="1403507"/>
                  </a:lnTo>
                  <a:lnTo>
                    <a:pt x="556132" y="1405128"/>
                  </a:lnTo>
                  <a:lnTo>
                    <a:pt x="506172" y="1403355"/>
                  </a:lnTo>
                  <a:lnTo>
                    <a:pt x="456808" y="1398092"/>
                  </a:lnTo>
                  <a:lnTo>
                    <a:pt x="408205" y="1389418"/>
                  </a:lnTo>
                  <a:lnTo>
                    <a:pt x="360525" y="1377414"/>
                  </a:lnTo>
                  <a:lnTo>
                    <a:pt x="313933" y="1362159"/>
                  </a:lnTo>
                  <a:lnTo>
                    <a:pt x="268593" y="1343733"/>
                  </a:lnTo>
                  <a:lnTo>
                    <a:pt x="224667" y="1322217"/>
                  </a:lnTo>
                  <a:lnTo>
                    <a:pt x="182321" y="1297691"/>
                  </a:lnTo>
                  <a:lnTo>
                    <a:pt x="141717" y="1270235"/>
                  </a:lnTo>
                  <a:lnTo>
                    <a:pt x="103019" y="1239929"/>
                  </a:lnTo>
                  <a:lnTo>
                    <a:pt x="66391" y="1206853"/>
                  </a:lnTo>
                  <a:lnTo>
                    <a:pt x="31997" y="1171088"/>
                  </a:lnTo>
                  <a:lnTo>
                    <a:pt x="0" y="1132713"/>
                  </a:lnTo>
                </a:path>
              </a:pathLst>
            </a:custGeom>
            <a:ln w="15240">
              <a:solidFill>
                <a:schemeClr val="tx2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06" name="object 18">
              <a:extLst>
                <a:ext uri="{FF2B5EF4-FFF2-40B4-BE49-F238E27FC236}">
                  <a16:creationId xmlns:a16="http://schemas.microsoft.com/office/drawing/2014/main" id="{85444CEF-0D92-45E1-935E-39D69785A112}"/>
                </a:ext>
              </a:extLst>
            </p:cNvPr>
            <p:cNvSpPr/>
            <p:nvPr/>
          </p:nvSpPr>
          <p:spPr>
            <a:xfrm>
              <a:off x="2682578" y="3409172"/>
              <a:ext cx="1056934" cy="1055884"/>
            </a:xfrm>
            <a:custGeom>
              <a:avLst/>
              <a:gdLst/>
              <a:ahLst/>
              <a:cxnLst/>
              <a:rect l="l" t="t" r="r" b="b"/>
              <a:pathLst>
                <a:path w="1278889" h="1277620">
                  <a:moveTo>
                    <a:pt x="639317" y="0"/>
                  </a:moveTo>
                  <a:lnTo>
                    <a:pt x="687027" y="1751"/>
                  </a:lnTo>
                  <a:lnTo>
                    <a:pt x="733785" y="6923"/>
                  </a:lnTo>
                  <a:lnTo>
                    <a:pt x="779468" y="15392"/>
                  </a:lnTo>
                  <a:lnTo>
                    <a:pt x="823952" y="27034"/>
                  </a:lnTo>
                  <a:lnTo>
                    <a:pt x="867112" y="41727"/>
                  </a:lnTo>
                  <a:lnTo>
                    <a:pt x="908827" y="59346"/>
                  </a:lnTo>
                  <a:lnTo>
                    <a:pt x="948971" y="79769"/>
                  </a:lnTo>
                  <a:lnTo>
                    <a:pt x="987422" y="102871"/>
                  </a:lnTo>
                  <a:lnTo>
                    <a:pt x="1024055" y="128530"/>
                  </a:lnTo>
                  <a:lnTo>
                    <a:pt x="1058747" y="156622"/>
                  </a:lnTo>
                  <a:lnTo>
                    <a:pt x="1091374" y="187023"/>
                  </a:lnTo>
                  <a:lnTo>
                    <a:pt x="1121813" y="219610"/>
                  </a:lnTo>
                  <a:lnTo>
                    <a:pt x="1149940" y="254260"/>
                  </a:lnTo>
                  <a:lnTo>
                    <a:pt x="1175631" y="290849"/>
                  </a:lnTo>
                  <a:lnTo>
                    <a:pt x="1198763" y="329253"/>
                  </a:lnTo>
                  <a:lnTo>
                    <a:pt x="1219212" y="369350"/>
                  </a:lnTo>
                  <a:lnTo>
                    <a:pt x="1236854" y="411016"/>
                  </a:lnTo>
                  <a:lnTo>
                    <a:pt x="1251565" y="454127"/>
                  </a:lnTo>
                  <a:lnTo>
                    <a:pt x="1263223" y="498560"/>
                  </a:lnTo>
                  <a:lnTo>
                    <a:pt x="1271703" y="544191"/>
                  </a:lnTo>
                  <a:lnTo>
                    <a:pt x="1276882" y="590898"/>
                  </a:lnTo>
                  <a:lnTo>
                    <a:pt x="1278636" y="638555"/>
                  </a:lnTo>
                  <a:lnTo>
                    <a:pt x="1276882" y="686213"/>
                  </a:lnTo>
                  <a:lnTo>
                    <a:pt x="1271703" y="732920"/>
                  </a:lnTo>
                  <a:lnTo>
                    <a:pt x="1263223" y="778551"/>
                  </a:lnTo>
                  <a:lnTo>
                    <a:pt x="1251565" y="822984"/>
                  </a:lnTo>
                  <a:lnTo>
                    <a:pt x="1236854" y="866095"/>
                  </a:lnTo>
                  <a:lnTo>
                    <a:pt x="1219212" y="907761"/>
                  </a:lnTo>
                  <a:lnTo>
                    <a:pt x="1198763" y="947858"/>
                  </a:lnTo>
                  <a:lnTo>
                    <a:pt x="1175631" y="986262"/>
                  </a:lnTo>
                  <a:lnTo>
                    <a:pt x="1149940" y="1022851"/>
                  </a:lnTo>
                  <a:lnTo>
                    <a:pt x="1121813" y="1057501"/>
                  </a:lnTo>
                  <a:lnTo>
                    <a:pt x="1091374" y="1090088"/>
                  </a:lnTo>
                  <a:lnTo>
                    <a:pt x="1058747" y="1120489"/>
                  </a:lnTo>
                  <a:lnTo>
                    <a:pt x="1024055" y="1148581"/>
                  </a:lnTo>
                  <a:lnTo>
                    <a:pt x="987422" y="1174240"/>
                  </a:lnTo>
                  <a:lnTo>
                    <a:pt x="948971" y="1197342"/>
                  </a:lnTo>
                  <a:lnTo>
                    <a:pt x="908827" y="1217765"/>
                  </a:lnTo>
                  <a:lnTo>
                    <a:pt x="867112" y="1235384"/>
                  </a:lnTo>
                  <a:lnTo>
                    <a:pt x="823952" y="1250077"/>
                  </a:lnTo>
                  <a:lnTo>
                    <a:pt x="779468" y="1261719"/>
                  </a:lnTo>
                  <a:lnTo>
                    <a:pt x="733785" y="1270188"/>
                  </a:lnTo>
                  <a:lnTo>
                    <a:pt x="687027" y="1275360"/>
                  </a:lnTo>
                  <a:lnTo>
                    <a:pt x="639317" y="1277112"/>
                  </a:lnTo>
                  <a:lnTo>
                    <a:pt x="591608" y="1275360"/>
                  </a:lnTo>
                  <a:lnTo>
                    <a:pt x="544850" y="1270188"/>
                  </a:lnTo>
                  <a:lnTo>
                    <a:pt x="499167" y="1261719"/>
                  </a:lnTo>
                  <a:lnTo>
                    <a:pt x="454683" y="1250077"/>
                  </a:lnTo>
                  <a:lnTo>
                    <a:pt x="411523" y="1235384"/>
                  </a:lnTo>
                  <a:lnTo>
                    <a:pt x="369808" y="1217765"/>
                  </a:lnTo>
                  <a:lnTo>
                    <a:pt x="329664" y="1197342"/>
                  </a:lnTo>
                  <a:lnTo>
                    <a:pt x="291213" y="1174240"/>
                  </a:lnTo>
                  <a:lnTo>
                    <a:pt x="254580" y="1148581"/>
                  </a:lnTo>
                  <a:lnTo>
                    <a:pt x="219888" y="1120489"/>
                  </a:lnTo>
                  <a:lnTo>
                    <a:pt x="187261" y="1090088"/>
                  </a:lnTo>
                  <a:lnTo>
                    <a:pt x="156822" y="1057501"/>
                  </a:lnTo>
                  <a:lnTo>
                    <a:pt x="128695" y="1022851"/>
                  </a:lnTo>
                  <a:lnTo>
                    <a:pt x="103004" y="986262"/>
                  </a:lnTo>
                  <a:lnTo>
                    <a:pt x="79872" y="947858"/>
                  </a:lnTo>
                  <a:lnTo>
                    <a:pt x="59423" y="907761"/>
                  </a:lnTo>
                  <a:lnTo>
                    <a:pt x="41781" y="866095"/>
                  </a:lnTo>
                  <a:lnTo>
                    <a:pt x="27070" y="822984"/>
                  </a:lnTo>
                  <a:lnTo>
                    <a:pt x="15412" y="778551"/>
                  </a:lnTo>
                  <a:lnTo>
                    <a:pt x="6932" y="732920"/>
                  </a:lnTo>
                  <a:lnTo>
                    <a:pt x="1753" y="686213"/>
                  </a:lnTo>
                  <a:lnTo>
                    <a:pt x="0" y="638555"/>
                  </a:lnTo>
                  <a:lnTo>
                    <a:pt x="2217" y="585401"/>
                  </a:lnTo>
                  <a:lnTo>
                    <a:pt x="8812" y="532886"/>
                  </a:lnTo>
                  <a:lnTo>
                    <a:pt x="19696" y="481266"/>
                  </a:lnTo>
                  <a:lnTo>
                    <a:pt x="34782" y="430799"/>
                  </a:lnTo>
                  <a:lnTo>
                    <a:pt x="53981" y="381744"/>
                  </a:lnTo>
                  <a:lnTo>
                    <a:pt x="77206" y="334357"/>
                  </a:lnTo>
                  <a:lnTo>
                    <a:pt x="104368" y="288895"/>
                  </a:lnTo>
                  <a:lnTo>
                    <a:pt x="135382" y="245617"/>
                  </a:lnTo>
                </a:path>
              </a:pathLst>
            </a:custGeom>
            <a:ln w="15240">
              <a:solidFill>
                <a:schemeClr val="tx2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07" name="object 19">
              <a:extLst>
                <a:ext uri="{FF2B5EF4-FFF2-40B4-BE49-F238E27FC236}">
                  <a16:creationId xmlns:a16="http://schemas.microsoft.com/office/drawing/2014/main" id="{FB76CA50-8E8E-4FED-AF4C-B57069ADE8E4}"/>
                </a:ext>
              </a:extLst>
            </p:cNvPr>
            <p:cNvSpPr/>
            <p:nvPr/>
          </p:nvSpPr>
          <p:spPr>
            <a:xfrm>
              <a:off x="3215348" y="3293298"/>
              <a:ext cx="638674" cy="894773"/>
            </a:xfrm>
            <a:custGeom>
              <a:avLst/>
              <a:gdLst/>
              <a:ahLst/>
              <a:cxnLst/>
              <a:rect l="l" t="t" r="r" b="b"/>
              <a:pathLst>
                <a:path w="772795" h="1082675">
                  <a:moveTo>
                    <a:pt x="0" y="0"/>
                  </a:moveTo>
                  <a:lnTo>
                    <a:pt x="48863" y="1521"/>
                  </a:lnTo>
                  <a:lnTo>
                    <a:pt x="96919" y="6026"/>
                  </a:lnTo>
                  <a:lnTo>
                    <a:pt x="144077" y="13424"/>
                  </a:lnTo>
                  <a:lnTo>
                    <a:pt x="190246" y="23624"/>
                  </a:lnTo>
                  <a:lnTo>
                    <a:pt x="235337" y="36535"/>
                  </a:lnTo>
                  <a:lnTo>
                    <a:pt x="279258" y="52067"/>
                  </a:lnTo>
                  <a:lnTo>
                    <a:pt x="321919" y="70128"/>
                  </a:lnTo>
                  <a:lnTo>
                    <a:pt x="363229" y="90629"/>
                  </a:lnTo>
                  <a:lnTo>
                    <a:pt x="403098" y="113479"/>
                  </a:lnTo>
                  <a:lnTo>
                    <a:pt x="441436" y="138587"/>
                  </a:lnTo>
                  <a:lnTo>
                    <a:pt x="478151" y="165862"/>
                  </a:lnTo>
                  <a:lnTo>
                    <a:pt x="513154" y="195214"/>
                  </a:lnTo>
                  <a:lnTo>
                    <a:pt x="546354" y="226552"/>
                  </a:lnTo>
                  <a:lnTo>
                    <a:pt x="577659" y="259785"/>
                  </a:lnTo>
                  <a:lnTo>
                    <a:pt x="606981" y="294823"/>
                  </a:lnTo>
                  <a:lnTo>
                    <a:pt x="634228" y="331575"/>
                  </a:lnTo>
                  <a:lnTo>
                    <a:pt x="659309" y="369951"/>
                  </a:lnTo>
                  <a:lnTo>
                    <a:pt x="682135" y="409859"/>
                  </a:lnTo>
                  <a:lnTo>
                    <a:pt x="702614" y="451210"/>
                  </a:lnTo>
                  <a:lnTo>
                    <a:pt x="720657" y="493912"/>
                  </a:lnTo>
                  <a:lnTo>
                    <a:pt x="736172" y="537875"/>
                  </a:lnTo>
                  <a:lnTo>
                    <a:pt x="749069" y="583008"/>
                  </a:lnTo>
                  <a:lnTo>
                    <a:pt x="759257" y="629221"/>
                  </a:lnTo>
                  <a:lnTo>
                    <a:pt x="766647" y="676422"/>
                  </a:lnTo>
                  <a:lnTo>
                    <a:pt x="771147" y="724522"/>
                  </a:lnTo>
                  <a:lnTo>
                    <a:pt x="772668" y="773430"/>
                  </a:lnTo>
                  <a:lnTo>
                    <a:pt x="770853" y="826453"/>
                  </a:lnTo>
                  <a:lnTo>
                    <a:pt x="765433" y="879103"/>
                  </a:lnTo>
                  <a:lnTo>
                    <a:pt x="756443" y="931195"/>
                  </a:lnTo>
                  <a:lnTo>
                    <a:pt x="743918" y="982547"/>
                  </a:lnTo>
                  <a:lnTo>
                    <a:pt x="727894" y="1032974"/>
                  </a:lnTo>
                  <a:lnTo>
                    <a:pt x="708406" y="1082294"/>
                  </a:lnTo>
                </a:path>
              </a:pathLst>
            </a:custGeom>
            <a:ln w="15240">
              <a:solidFill>
                <a:schemeClr val="tx2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08" name="object 40">
              <a:extLst>
                <a:ext uri="{FF2B5EF4-FFF2-40B4-BE49-F238E27FC236}">
                  <a16:creationId xmlns:a16="http://schemas.microsoft.com/office/drawing/2014/main" id="{83599FFD-DE49-40C6-A03E-3FEC6821B67D}"/>
                </a:ext>
              </a:extLst>
            </p:cNvPr>
            <p:cNvSpPr/>
            <p:nvPr/>
          </p:nvSpPr>
          <p:spPr>
            <a:xfrm>
              <a:off x="2748701" y="3466480"/>
              <a:ext cx="934657" cy="934657"/>
            </a:xfrm>
            <a:custGeom>
              <a:avLst/>
              <a:gdLst/>
              <a:ahLst/>
              <a:cxnLst/>
              <a:rect l="l" t="t" r="r" b="b"/>
              <a:pathLst>
                <a:path w="1130935" h="1130935">
                  <a:moveTo>
                    <a:pt x="565403" y="0"/>
                  </a:moveTo>
                  <a:lnTo>
                    <a:pt x="516614" y="2075"/>
                  </a:lnTo>
                  <a:lnTo>
                    <a:pt x="468978" y="8187"/>
                  </a:lnTo>
                  <a:lnTo>
                    <a:pt x="422665" y="18167"/>
                  </a:lnTo>
                  <a:lnTo>
                    <a:pt x="377844" y="31845"/>
                  </a:lnTo>
                  <a:lnTo>
                    <a:pt x="334686" y="49051"/>
                  </a:lnTo>
                  <a:lnTo>
                    <a:pt x="293360" y="69615"/>
                  </a:lnTo>
                  <a:lnTo>
                    <a:pt x="254034" y="93369"/>
                  </a:lnTo>
                  <a:lnTo>
                    <a:pt x="216881" y="120142"/>
                  </a:lnTo>
                  <a:lnTo>
                    <a:pt x="182067" y="149765"/>
                  </a:lnTo>
                  <a:lnTo>
                    <a:pt x="149765" y="182067"/>
                  </a:lnTo>
                  <a:lnTo>
                    <a:pt x="120142" y="216881"/>
                  </a:lnTo>
                  <a:lnTo>
                    <a:pt x="93369" y="254034"/>
                  </a:lnTo>
                  <a:lnTo>
                    <a:pt x="69615" y="293360"/>
                  </a:lnTo>
                  <a:lnTo>
                    <a:pt x="49051" y="334686"/>
                  </a:lnTo>
                  <a:lnTo>
                    <a:pt x="31845" y="377844"/>
                  </a:lnTo>
                  <a:lnTo>
                    <a:pt x="18167" y="422665"/>
                  </a:lnTo>
                  <a:lnTo>
                    <a:pt x="8187" y="468978"/>
                  </a:lnTo>
                  <a:lnTo>
                    <a:pt x="2075" y="516614"/>
                  </a:lnTo>
                  <a:lnTo>
                    <a:pt x="0" y="565404"/>
                  </a:lnTo>
                  <a:lnTo>
                    <a:pt x="2075" y="614193"/>
                  </a:lnTo>
                  <a:lnTo>
                    <a:pt x="8187" y="661829"/>
                  </a:lnTo>
                  <a:lnTo>
                    <a:pt x="18167" y="708142"/>
                  </a:lnTo>
                  <a:lnTo>
                    <a:pt x="31845" y="752963"/>
                  </a:lnTo>
                  <a:lnTo>
                    <a:pt x="49051" y="796121"/>
                  </a:lnTo>
                  <a:lnTo>
                    <a:pt x="69615" y="837447"/>
                  </a:lnTo>
                  <a:lnTo>
                    <a:pt x="93369" y="876773"/>
                  </a:lnTo>
                  <a:lnTo>
                    <a:pt x="120142" y="913926"/>
                  </a:lnTo>
                  <a:lnTo>
                    <a:pt x="149765" y="948740"/>
                  </a:lnTo>
                  <a:lnTo>
                    <a:pt x="182067" y="981042"/>
                  </a:lnTo>
                  <a:lnTo>
                    <a:pt x="216881" y="1010665"/>
                  </a:lnTo>
                  <a:lnTo>
                    <a:pt x="254034" y="1037438"/>
                  </a:lnTo>
                  <a:lnTo>
                    <a:pt x="293360" y="1061192"/>
                  </a:lnTo>
                  <a:lnTo>
                    <a:pt x="334686" y="1081756"/>
                  </a:lnTo>
                  <a:lnTo>
                    <a:pt x="377844" y="1098962"/>
                  </a:lnTo>
                  <a:lnTo>
                    <a:pt x="422665" y="1112640"/>
                  </a:lnTo>
                  <a:lnTo>
                    <a:pt x="468978" y="1122620"/>
                  </a:lnTo>
                  <a:lnTo>
                    <a:pt x="516614" y="1128732"/>
                  </a:lnTo>
                  <a:lnTo>
                    <a:pt x="565403" y="1130808"/>
                  </a:lnTo>
                  <a:lnTo>
                    <a:pt x="614193" y="1128732"/>
                  </a:lnTo>
                  <a:lnTo>
                    <a:pt x="661829" y="1122620"/>
                  </a:lnTo>
                  <a:lnTo>
                    <a:pt x="708142" y="1112640"/>
                  </a:lnTo>
                  <a:lnTo>
                    <a:pt x="752963" y="1098962"/>
                  </a:lnTo>
                  <a:lnTo>
                    <a:pt x="796121" y="1081756"/>
                  </a:lnTo>
                  <a:lnTo>
                    <a:pt x="837447" y="1061192"/>
                  </a:lnTo>
                  <a:lnTo>
                    <a:pt x="876773" y="1037438"/>
                  </a:lnTo>
                  <a:lnTo>
                    <a:pt x="913926" y="1010665"/>
                  </a:lnTo>
                  <a:lnTo>
                    <a:pt x="948740" y="981042"/>
                  </a:lnTo>
                  <a:lnTo>
                    <a:pt x="981042" y="948740"/>
                  </a:lnTo>
                  <a:lnTo>
                    <a:pt x="1010665" y="913926"/>
                  </a:lnTo>
                  <a:lnTo>
                    <a:pt x="1037438" y="876773"/>
                  </a:lnTo>
                  <a:lnTo>
                    <a:pt x="1061192" y="837447"/>
                  </a:lnTo>
                  <a:lnTo>
                    <a:pt x="1081756" y="796121"/>
                  </a:lnTo>
                  <a:lnTo>
                    <a:pt x="1098962" y="752963"/>
                  </a:lnTo>
                  <a:lnTo>
                    <a:pt x="1112640" y="708142"/>
                  </a:lnTo>
                  <a:lnTo>
                    <a:pt x="1122620" y="661829"/>
                  </a:lnTo>
                  <a:lnTo>
                    <a:pt x="1128732" y="614193"/>
                  </a:lnTo>
                  <a:lnTo>
                    <a:pt x="1130807" y="565404"/>
                  </a:lnTo>
                  <a:lnTo>
                    <a:pt x="1128732" y="516614"/>
                  </a:lnTo>
                  <a:lnTo>
                    <a:pt x="1122620" y="468978"/>
                  </a:lnTo>
                  <a:lnTo>
                    <a:pt x="1112640" y="422665"/>
                  </a:lnTo>
                  <a:lnTo>
                    <a:pt x="1098962" y="377844"/>
                  </a:lnTo>
                  <a:lnTo>
                    <a:pt x="1081756" y="334686"/>
                  </a:lnTo>
                  <a:lnTo>
                    <a:pt x="1061192" y="293360"/>
                  </a:lnTo>
                  <a:lnTo>
                    <a:pt x="1037438" y="254034"/>
                  </a:lnTo>
                  <a:lnTo>
                    <a:pt x="1010665" y="216881"/>
                  </a:lnTo>
                  <a:lnTo>
                    <a:pt x="981042" y="182067"/>
                  </a:lnTo>
                  <a:lnTo>
                    <a:pt x="948740" y="149765"/>
                  </a:lnTo>
                  <a:lnTo>
                    <a:pt x="913926" y="120142"/>
                  </a:lnTo>
                  <a:lnTo>
                    <a:pt x="876773" y="93369"/>
                  </a:lnTo>
                  <a:lnTo>
                    <a:pt x="837447" y="69615"/>
                  </a:lnTo>
                  <a:lnTo>
                    <a:pt x="796121" y="49051"/>
                  </a:lnTo>
                  <a:lnTo>
                    <a:pt x="752963" y="31845"/>
                  </a:lnTo>
                  <a:lnTo>
                    <a:pt x="708142" y="18167"/>
                  </a:lnTo>
                  <a:lnTo>
                    <a:pt x="661829" y="8187"/>
                  </a:lnTo>
                  <a:lnTo>
                    <a:pt x="614193" y="2075"/>
                  </a:lnTo>
                  <a:lnTo>
                    <a:pt x="565403" y="0"/>
                  </a:lnTo>
                  <a:close/>
                </a:path>
              </a:pathLst>
            </a:custGeom>
            <a:solidFill>
              <a:srgbClr val="FFFFFF"/>
            </a:solidFill>
            <a:ln>
              <a:solidFill>
                <a:schemeClr val="tx2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09" name="object 41">
              <a:extLst>
                <a:ext uri="{FF2B5EF4-FFF2-40B4-BE49-F238E27FC236}">
                  <a16:creationId xmlns:a16="http://schemas.microsoft.com/office/drawing/2014/main" id="{0AC30CF0-F690-4468-967B-8403F51249B3}"/>
                </a:ext>
              </a:extLst>
            </p:cNvPr>
            <p:cNvSpPr/>
            <p:nvPr/>
          </p:nvSpPr>
          <p:spPr>
            <a:xfrm>
              <a:off x="2748701" y="3466480"/>
              <a:ext cx="934657" cy="934657"/>
            </a:xfrm>
            <a:custGeom>
              <a:avLst/>
              <a:gdLst/>
              <a:ahLst/>
              <a:cxnLst/>
              <a:rect l="l" t="t" r="r" b="b"/>
              <a:pathLst>
                <a:path w="1130935" h="1130935">
                  <a:moveTo>
                    <a:pt x="0" y="565404"/>
                  </a:moveTo>
                  <a:lnTo>
                    <a:pt x="2075" y="516614"/>
                  </a:lnTo>
                  <a:lnTo>
                    <a:pt x="8187" y="468978"/>
                  </a:lnTo>
                  <a:lnTo>
                    <a:pt x="18167" y="422665"/>
                  </a:lnTo>
                  <a:lnTo>
                    <a:pt x="31845" y="377844"/>
                  </a:lnTo>
                  <a:lnTo>
                    <a:pt x="49051" y="334686"/>
                  </a:lnTo>
                  <a:lnTo>
                    <a:pt x="69615" y="293360"/>
                  </a:lnTo>
                  <a:lnTo>
                    <a:pt x="93369" y="254034"/>
                  </a:lnTo>
                  <a:lnTo>
                    <a:pt x="120142" y="216881"/>
                  </a:lnTo>
                  <a:lnTo>
                    <a:pt x="149765" y="182067"/>
                  </a:lnTo>
                  <a:lnTo>
                    <a:pt x="182067" y="149765"/>
                  </a:lnTo>
                  <a:lnTo>
                    <a:pt x="216881" y="120142"/>
                  </a:lnTo>
                  <a:lnTo>
                    <a:pt x="254034" y="93369"/>
                  </a:lnTo>
                  <a:lnTo>
                    <a:pt x="293360" y="69615"/>
                  </a:lnTo>
                  <a:lnTo>
                    <a:pt x="334686" y="49051"/>
                  </a:lnTo>
                  <a:lnTo>
                    <a:pt x="377844" y="31845"/>
                  </a:lnTo>
                  <a:lnTo>
                    <a:pt x="422665" y="18167"/>
                  </a:lnTo>
                  <a:lnTo>
                    <a:pt x="468978" y="8187"/>
                  </a:lnTo>
                  <a:lnTo>
                    <a:pt x="516614" y="2075"/>
                  </a:lnTo>
                  <a:lnTo>
                    <a:pt x="565403" y="0"/>
                  </a:lnTo>
                  <a:lnTo>
                    <a:pt x="614193" y="2075"/>
                  </a:lnTo>
                  <a:lnTo>
                    <a:pt x="661829" y="8187"/>
                  </a:lnTo>
                  <a:lnTo>
                    <a:pt x="708142" y="18167"/>
                  </a:lnTo>
                  <a:lnTo>
                    <a:pt x="752963" y="31845"/>
                  </a:lnTo>
                  <a:lnTo>
                    <a:pt x="796121" y="49051"/>
                  </a:lnTo>
                  <a:lnTo>
                    <a:pt x="837447" y="69615"/>
                  </a:lnTo>
                  <a:lnTo>
                    <a:pt x="876773" y="93369"/>
                  </a:lnTo>
                  <a:lnTo>
                    <a:pt x="913926" y="120142"/>
                  </a:lnTo>
                  <a:lnTo>
                    <a:pt x="948740" y="149765"/>
                  </a:lnTo>
                  <a:lnTo>
                    <a:pt x="981042" y="182067"/>
                  </a:lnTo>
                  <a:lnTo>
                    <a:pt x="1010665" y="216881"/>
                  </a:lnTo>
                  <a:lnTo>
                    <a:pt x="1037438" y="254034"/>
                  </a:lnTo>
                  <a:lnTo>
                    <a:pt x="1061192" y="293360"/>
                  </a:lnTo>
                  <a:lnTo>
                    <a:pt x="1081756" y="334686"/>
                  </a:lnTo>
                  <a:lnTo>
                    <a:pt x="1098962" y="377844"/>
                  </a:lnTo>
                  <a:lnTo>
                    <a:pt x="1112640" y="422665"/>
                  </a:lnTo>
                  <a:lnTo>
                    <a:pt x="1122620" y="468978"/>
                  </a:lnTo>
                  <a:lnTo>
                    <a:pt x="1128732" y="516614"/>
                  </a:lnTo>
                  <a:lnTo>
                    <a:pt x="1130807" y="565404"/>
                  </a:lnTo>
                  <a:lnTo>
                    <a:pt x="1128732" y="614193"/>
                  </a:lnTo>
                  <a:lnTo>
                    <a:pt x="1122620" y="661829"/>
                  </a:lnTo>
                  <a:lnTo>
                    <a:pt x="1112640" y="708142"/>
                  </a:lnTo>
                  <a:lnTo>
                    <a:pt x="1098962" y="752963"/>
                  </a:lnTo>
                  <a:lnTo>
                    <a:pt x="1081756" y="796121"/>
                  </a:lnTo>
                  <a:lnTo>
                    <a:pt x="1061192" y="837447"/>
                  </a:lnTo>
                  <a:lnTo>
                    <a:pt x="1037438" y="876773"/>
                  </a:lnTo>
                  <a:lnTo>
                    <a:pt x="1010665" y="913926"/>
                  </a:lnTo>
                  <a:lnTo>
                    <a:pt x="981042" y="948740"/>
                  </a:lnTo>
                  <a:lnTo>
                    <a:pt x="948740" y="981042"/>
                  </a:lnTo>
                  <a:lnTo>
                    <a:pt x="913926" y="1010665"/>
                  </a:lnTo>
                  <a:lnTo>
                    <a:pt x="876773" y="1037438"/>
                  </a:lnTo>
                  <a:lnTo>
                    <a:pt x="837447" y="1061192"/>
                  </a:lnTo>
                  <a:lnTo>
                    <a:pt x="796121" y="1081756"/>
                  </a:lnTo>
                  <a:lnTo>
                    <a:pt x="752963" y="1098962"/>
                  </a:lnTo>
                  <a:lnTo>
                    <a:pt x="708142" y="1112640"/>
                  </a:lnTo>
                  <a:lnTo>
                    <a:pt x="661829" y="1122620"/>
                  </a:lnTo>
                  <a:lnTo>
                    <a:pt x="614193" y="1128732"/>
                  </a:lnTo>
                  <a:lnTo>
                    <a:pt x="565403" y="1130808"/>
                  </a:lnTo>
                  <a:lnTo>
                    <a:pt x="516614" y="1128732"/>
                  </a:lnTo>
                  <a:lnTo>
                    <a:pt x="468978" y="1122620"/>
                  </a:lnTo>
                  <a:lnTo>
                    <a:pt x="422665" y="1112640"/>
                  </a:lnTo>
                  <a:lnTo>
                    <a:pt x="377844" y="1098962"/>
                  </a:lnTo>
                  <a:lnTo>
                    <a:pt x="334686" y="1081756"/>
                  </a:lnTo>
                  <a:lnTo>
                    <a:pt x="293360" y="1061192"/>
                  </a:lnTo>
                  <a:lnTo>
                    <a:pt x="254034" y="1037438"/>
                  </a:lnTo>
                  <a:lnTo>
                    <a:pt x="216881" y="1010665"/>
                  </a:lnTo>
                  <a:lnTo>
                    <a:pt x="182067" y="981042"/>
                  </a:lnTo>
                  <a:lnTo>
                    <a:pt x="149765" y="948740"/>
                  </a:lnTo>
                  <a:lnTo>
                    <a:pt x="120142" y="913926"/>
                  </a:lnTo>
                  <a:lnTo>
                    <a:pt x="93369" y="876773"/>
                  </a:lnTo>
                  <a:lnTo>
                    <a:pt x="69615" y="837447"/>
                  </a:lnTo>
                  <a:lnTo>
                    <a:pt x="49051" y="796121"/>
                  </a:lnTo>
                  <a:lnTo>
                    <a:pt x="31845" y="752963"/>
                  </a:lnTo>
                  <a:lnTo>
                    <a:pt x="18167" y="708142"/>
                  </a:lnTo>
                  <a:lnTo>
                    <a:pt x="8187" y="661829"/>
                  </a:lnTo>
                  <a:lnTo>
                    <a:pt x="2075" y="614193"/>
                  </a:lnTo>
                  <a:lnTo>
                    <a:pt x="0" y="565404"/>
                  </a:lnTo>
                  <a:close/>
                </a:path>
              </a:pathLst>
            </a:custGeom>
            <a:ln w="15240">
              <a:solidFill>
                <a:schemeClr val="tx2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11" name="object 69">
              <a:extLst>
                <a:ext uri="{FF2B5EF4-FFF2-40B4-BE49-F238E27FC236}">
                  <a16:creationId xmlns:a16="http://schemas.microsoft.com/office/drawing/2014/main" id="{31F08C77-7E71-4E35-AFA5-DF73BE1CACB5}"/>
                </a:ext>
              </a:extLst>
            </p:cNvPr>
            <p:cNvSpPr/>
            <p:nvPr/>
          </p:nvSpPr>
          <p:spPr>
            <a:xfrm flipH="1">
              <a:off x="2907162" y="3834924"/>
              <a:ext cx="581679" cy="416122"/>
            </a:xfrm>
            <a:prstGeom prst="rect">
              <a:avLst/>
            </a:prstGeom>
            <a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a:blipFill>
            <a:ln>
              <a:noFill/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2F24AFC2-E444-469A-9E9D-2565EC418CD0}"/>
                </a:ext>
              </a:extLst>
            </p:cNvPr>
            <p:cNvSpPr txBox="1"/>
            <p:nvPr/>
          </p:nvSpPr>
          <p:spPr>
            <a:xfrm>
              <a:off x="2761036" y="3581025"/>
              <a:ext cx="1282148" cy="22644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 err="1">
                  <a:ln>
                    <a:noFill/>
                  </a:ln>
                  <a:solidFill>
                    <a:srgbClr val="0D347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Fagrekvirent</a:t>
              </a:r>
              <a:endPara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0D347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113" name="object 21">
            <a:extLst>
              <a:ext uri="{FF2B5EF4-FFF2-40B4-BE49-F238E27FC236}">
                <a16:creationId xmlns:a16="http://schemas.microsoft.com/office/drawing/2014/main" id="{C4A58E6D-9266-499D-8300-91C7DDE8E705}"/>
              </a:ext>
            </a:extLst>
          </p:cNvPr>
          <p:cNvSpPr txBox="1"/>
          <p:nvPr/>
        </p:nvSpPr>
        <p:spPr>
          <a:xfrm>
            <a:off x="7506985" y="4473177"/>
            <a:ext cx="1220312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lvl="0" indent="635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-1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Registrerer</a:t>
            </a:r>
            <a:r>
              <a:rPr kumimoji="0" lang="en-US" sz="900" b="0" i="0" u="none" strike="noStrike" kern="1200" cap="none" spc="-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 </a:t>
            </a:r>
            <a:r>
              <a:rPr kumimoji="0" lang="en-US" sz="900" b="0" i="0" u="none" strike="noStrike" kern="1200" cap="none" spc="-1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varemottak</a:t>
            </a:r>
            <a:r>
              <a:rPr kumimoji="0" lang="en-US" sz="900" b="0" i="0" u="none" strike="noStrike" kern="1200" cap="none" spc="-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 </a:t>
            </a:r>
            <a:r>
              <a:rPr kumimoji="0" lang="en-US" sz="900" b="0" i="0" u="none" strike="noStrike" kern="1200" cap="none" spc="-1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i</a:t>
            </a:r>
            <a:r>
              <a:rPr kumimoji="0" lang="en-US" sz="900" b="0" i="0" u="none" strike="noStrike" kern="1200" cap="none" spc="-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 Unit4 ERP</a:t>
            </a:r>
            <a:endParaRPr kumimoji="0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Verdana"/>
            </a:endParaRPr>
          </a:p>
        </p:txBody>
      </p:sp>
      <p:sp>
        <p:nvSpPr>
          <p:cNvPr id="114" name="object 65">
            <a:extLst>
              <a:ext uri="{FF2B5EF4-FFF2-40B4-BE49-F238E27FC236}">
                <a16:creationId xmlns:a16="http://schemas.microsoft.com/office/drawing/2014/main" id="{957324FB-339C-4249-8644-3655E83BB5C5}"/>
              </a:ext>
            </a:extLst>
          </p:cNvPr>
          <p:cNvSpPr/>
          <p:nvPr/>
        </p:nvSpPr>
        <p:spPr>
          <a:xfrm rot="6143377">
            <a:off x="7785112" y="2869250"/>
            <a:ext cx="871007" cy="79614"/>
          </a:xfrm>
          <a:custGeom>
            <a:avLst/>
            <a:gdLst/>
            <a:ahLst/>
            <a:cxnLst/>
            <a:rect l="l" t="t" r="r" b="b"/>
            <a:pathLst>
              <a:path w="1685289" h="352425">
                <a:moveTo>
                  <a:pt x="1621144" y="306764"/>
                </a:moveTo>
                <a:lnTo>
                  <a:pt x="1602486" y="327913"/>
                </a:lnTo>
                <a:lnTo>
                  <a:pt x="1684782" y="349758"/>
                </a:lnTo>
                <a:lnTo>
                  <a:pt x="1670790" y="315087"/>
                </a:lnTo>
                <a:lnTo>
                  <a:pt x="1631188" y="315087"/>
                </a:lnTo>
                <a:lnTo>
                  <a:pt x="1621144" y="306764"/>
                </a:lnTo>
                <a:close/>
              </a:path>
              <a:path w="1685289" h="352425">
                <a:moveTo>
                  <a:pt x="1633736" y="292491"/>
                </a:moveTo>
                <a:lnTo>
                  <a:pt x="1621144" y="306764"/>
                </a:lnTo>
                <a:lnTo>
                  <a:pt x="1631188" y="315087"/>
                </a:lnTo>
                <a:lnTo>
                  <a:pt x="1643380" y="300482"/>
                </a:lnTo>
                <a:lnTo>
                  <a:pt x="1633736" y="292491"/>
                </a:lnTo>
                <a:close/>
              </a:path>
              <a:path w="1685289" h="352425">
                <a:moveTo>
                  <a:pt x="1652905" y="270763"/>
                </a:moveTo>
                <a:lnTo>
                  <a:pt x="1633736" y="292491"/>
                </a:lnTo>
                <a:lnTo>
                  <a:pt x="1643380" y="300482"/>
                </a:lnTo>
                <a:lnTo>
                  <a:pt x="1631188" y="315087"/>
                </a:lnTo>
                <a:lnTo>
                  <a:pt x="1670790" y="315087"/>
                </a:lnTo>
                <a:lnTo>
                  <a:pt x="1652905" y="270763"/>
                </a:lnTo>
                <a:close/>
              </a:path>
              <a:path w="1685289" h="352425">
                <a:moveTo>
                  <a:pt x="1583689" y="252222"/>
                </a:moveTo>
                <a:lnTo>
                  <a:pt x="1572387" y="267588"/>
                </a:lnTo>
                <a:lnTo>
                  <a:pt x="1585976" y="277622"/>
                </a:lnTo>
                <a:lnTo>
                  <a:pt x="1621144" y="306764"/>
                </a:lnTo>
                <a:lnTo>
                  <a:pt x="1633736" y="292491"/>
                </a:lnTo>
                <a:lnTo>
                  <a:pt x="1598168" y="263017"/>
                </a:lnTo>
                <a:lnTo>
                  <a:pt x="1583689" y="252222"/>
                </a:lnTo>
                <a:close/>
              </a:path>
              <a:path w="1685289" h="352425">
                <a:moveTo>
                  <a:pt x="1472311" y="177292"/>
                </a:moveTo>
                <a:lnTo>
                  <a:pt x="1462532" y="193675"/>
                </a:lnTo>
                <a:lnTo>
                  <a:pt x="1488567" y="209296"/>
                </a:lnTo>
                <a:lnTo>
                  <a:pt x="1526286" y="234442"/>
                </a:lnTo>
                <a:lnTo>
                  <a:pt x="1536954" y="218694"/>
                </a:lnTo>
                <a:lnTo>
                  <a:pt x="1499108" y="193421"/>
                </a:lnTo>
                <a:lnTo>
                  <a:pt x="1472311" y="177292"/>
                </a:lnTo>
                <a:close/>
              </a:path>
              <a:path w="1685289" h="352425">
                <a:moveTo>
                  <a:pt x="1353693" y="114553"/>
                </a:moveTo>
                <a:lnTo>
                  <a:pt x="1345564" y="131825"/>
                </a:lnTo>
                <a:lnTo>
                  <a:pt x="1386586" y="151384"/>
                </a:lnTo>
                <a:lnTo>
                  <a:pt x="1413256" y="165608"/>
                </a:lnTo>
                <a:lnTo>
                  <a:pt x="1422273" y="148844"/>
                </a:lnTo>
                <a:lnTo>
                  <a:pt x="1395602" y="134493"/>
                </a:lnTo>
                <a:lnTo>
                  <a:pt x="1353693" y="114553"/>
                </a:lnTo>
                <a:close/>
              </a:path>
              <a:path w="1685289" h="352425">
                <a:moveTo>
                  <a:pt x="1228725" y="64770"/>
                </a:moveTo>
                <a:lnTo>
                  <a:pt x="1223010" y="82931"/>
                </a:lnTo>
                <a:lnTo>
                  <a:pt x="1226820" y="84200"/>
                </a:lnTo>
                <a:lnTo>
                  <a:pt x="1280922" y="103886"/>
                </a:lnTo>
                <a:lnTo>
                  <a:pt x="1293495" y="109220"/>
                </a:lnTo>
                <a:lnTo>
                  <a:pt x="1300861" y="91694"/>
                </a:lnTo>
                <a:lnTo>
                  <a:pt x="1288288" y="86360"/>
                </a:lnTo>
                <a:lnTo>
                  <a:pt x="1233424" y="66294"/>
                </a:lnTo>
                <a:lnTo>
                  <a:pt x="1228725" y="64770"/>
                </a:lnTo>
                <a:close/>
              </a:path>
              <a:path w="1685289" h="352425">
                <a:moveTo>
                  <a:pt x="1099312" y="29210"/>
                </a:moveTo>
                <a:lnTo>
                  <a:pt x="1095375" y="47751"/>
                </a:lnTo>
                <a:lnTo>
                  <a:pt x="1116965" y="52450"/>
                </a:lnTo>
                <a:lnTo>
                  <a:pt x="1168781" y="66039"/>
                </a:lnTo>
                <a:lnTo>
                  <a:pt x="1173734" y="47625"/>
                </a:lnTo>
                <a:lnTo>
                  <a:pt x="1121918" y="34036"/>
                </a:lnTo>
                <a:lnTo>
                  <a:pt x="1099312" y="29210"/>
                </a:lnTo>
                <a:close/>
              </a:path>
              <a:path w="1685289" h="352425">
                <a:moveTo>
                  <a:pt x="966978" y="7365"/>
                </a:moveTo>
                <a:lnTo>
                  <a:pt x="964692" y="26288"/>
                </a:lnTo>
                <a:lnTo>
                  <a:pt x="1005459" y="31114"/>
                </a:lnTo>
                <a:lnTo>
                  <a:pt x="1039749" y="36957"/>
                </a:lnTo>
                <a:lnTo>
                  <a:pt x="1042797" y="18161"/>
                </a:lnTo>
                <a:lnTo>
                  <a:pt x="1008634" y="12446"/>
                </a:lnTo>
                <a:lnTo>
                  <a:pt x="966978" y="7365"/>
                </a:lnTo>
                <a:close/>
              </a:path>
              <a:path w="1685289" h="352425">
                <a:moveTo>
                  <a:pt x="837057" y="0"/>
                </a:moveTo>
                <a:lnTo>
                  <a:pt x="832612" y="0"/>
                </a:lnTo>
                <a:lnTo>
                  <a:pt x="832993" y="19050"/>
                </a:lnTo>
                <a:lnTo>
                  <a:pt x="836549" y="19050"/>
                </a:lnTo>
                <a:lnTo>
                  <a:pt x="892937" y="20447"/>
                </a:lnTo>
                <a:lnTo>
                  <a:pt x="908177" y="21462"/>
                </a:lnTo>
                <a:lnTo>
                  <a:pt x="909574" y="2539"/>
                </a:lnTo>
                <a:lnTo>
                  <a:pt x="894334" y="1397"/>
                </a:lnTo>
                <a:lnTo>
                  <a:pt x="837057" y="0"/>
                </a:lnTo>
                <a:close/>
              </a:path>
              <a:path w="1685289" h="352425">
                <a:moveTo>
                  <a:pt x="774954" y="1397"/>
                </a:moveTo>
                <a:lnTo>
                  <a:pt x="722884" y="4952"/>
                </a:lnTo>
                <a:lnTo>
                  <a:pt x="698627" y="7747"/>
                </a:lnTo>
                <a:lnTo>
                  <a:pt x="700786" y="26670"/>
                </a:lnTo>
                <a:lnTo>
                  <a:pt x="724281" y="24002"/>
                </a:lnTo>
                <a:lnTo>
                  <a:pt x="776224" y="20447"/>
                </a:lnTo>
                <a:lnTo>
                  <a:pt x="774954" y="1397"/>
                </a:lnTo>
                <a:close/>
              </a:path>
              <a:path w="1685289" h="352425">
                <a:moveTo>
                  <a:pt x="641604" y="15494"/>
                </a:moveTo>
                <a:lnTo>
                  <a:pt x="609854" y="20574"/>
                </a:lnTo>
                <a:lnTo>
                  <a:pt x="566293" y="29845"/>
                </a:lnTo>
                <a:lnTo>
                  <a:pt x="570230" y="48513"/>
                </a:lnTo>
                <a:lnTo>
                  <a:pt x="612902" y="39370"/>
                </a:lnTo>
                <a:lnTo>
                  <a:pt x="644652" y="34289"/>
                </a:lnTo>
                <a:lnTo>
                  <a:pt x="641604" y="15494"/>
                </a:lnTo>
                <a:close/>
              </a:path>
              <a:path w="1685289" h="352425">
                <a:moveTo>
                  <a:pt x="510413" y="43814"/>
                </a:moveTo>
                <a:lnTo>
                  <a:pt x="498602" y="46989"/>
                </a:lnTo>
                <a:lnTo>
                  <a:pt x="443992" y="64135"/>
                </a:lnTo>
                <a:lnTo>
                  <a:pt x="436753" y="66801"/>
                </a:lnTo>
                <a:lnTo>
                  <a:pt x="443357" y="84709"/>
                </a:lnTo>
                <a:lnTo>
                  <a:pt x="449707" y="82296"/>
                </a:lnTo>
                <a:lnTo>
                  <a:pt x="503555" y="65405"/>
                </a:lnTo>
                <a:lnTo>
                  <a:pt x="515239" y="62357"/>
                </a:lnTo>
                <a:lnTo>
                  <a:pt x="510413" y="43814"/>
                </a:lnTo>
                <a:close/>
              </a:path>
              <a:path w="1685289" h="352425">
                <a:moveTo>
                  <a:pt x="382905" y="86995"/>
                </a:moveTo>
                <a:lnTo>
                  <a:pt x="337185" y="106425"/>
                </a:lnTo>
                <a:lnTo>
                  <a:pt x="312928" y="118237"/>
                </a:lnTo>
                <a:lnTo>
                  <a:pt x="321183" y="135382"/>
                </a:lnTo>
                <a:lnTo>
                  <a:pt x="344678" y="123951"/>
                </a:lnTo>
                <a:lnTo>
                  <a:pt x="390398" y="104521"/>
                </a:lnTo>
                <a:lnTo>
                  <a:pt x="382905" y="86995"/>
                </a:lnTo>
                <a:close/>
              </a:path>
              <a:path w="1685289" h="352425">
                <a:moveTo>
                  <a:pt x="261620" y="144525"/>
                </a:moveTo>
                <a:lnTo>
                  <a:pt x="234442" y="159385"/>
                </a:lnTo>
                <a:lnTo>
                  <a:pt x="195580" y="183387"/>
                </a:lnTo>
                <a:lnTo>
                  <a:pt x="205486" y="199517"/>
                </a:lnTo>
                <a:lnTo>
                  <a:pt x="243586" y="176149"/>
                </a:lnTo>
                <a:lnTo>
                  <a:pt x="270764" y="161289"/>
                </a:lnTo>
                <a:lnTo>
                  <a:pt x="261620" y="144525"/>
                </a:lnTo>
                <a:close/>
              </a:path>
              <a:path w="1685289" h="352425">
                <a:moveTo>
                  <a:pt x="147574" y="215392"/>
                </a:moveTo>
                <a:lnTo>
                  <a:pt x="136398" y="223138"/>
                </a:lnTo>
                <a:lnTo>
                  <a:pt x="89408" y="258952"/>
                </a:lnTo>
                <a:lnTo>
                  <a:pt x="85979" y="261747"/>
                </a:lnTo>
                <a:lnTo>
                  <a:pt x="98298" y="276225"/>
                </a:lnTo>
                <a:lnTo>
                  <a:pt x="100837" y="274065"/>
                </a:lnTo>
                <a:lnTo>
                  <a:pt x="147193" y="238760"/>
                </a:lnTo>
                <a:lnTo>
                  <a:pt x="158369" y="231139"/>
                </a:lnTo>
                <a:lnTo>
                  <a:pt x="147574" y="215392"/>
                </a:lnTo>
                <a:close/>
              </a:path>
              <a:path w="1685289" h="352425">
                <a:moveTo>
                  <a:pt x="42037" y="299085"/>
                </a:moveTo>
                <a:lnTo>
                  <a:pt x="0" y="338582"/>
                </a:lnTo>
                <a:lnTo>
                  <a:pt x="13081" y="352425"/>
                </a:lnTo>
                <a:lnTo>
                  <a:pt x="55118" y="313055"/>
                </a:lnTo>
                <a:lnTo>
                  <a:pt x="42037" y="299085"/>
                </a:lnTo>
                <a:close/>
              </a:path>
            </a:pathLst>
          </a:custGeom>
          <a:solidFill>
            <a:srgbClr val="A6A6A6"/>
          </a:solidFill>
          <a:ln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9974899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5FE2C19-1B9A-46A3-864B-AA04A0F0C1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795022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5FE2C19-1B9A-46A3-864B-AA04A0F0C1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8E4C28B-F1B0-402B-9DE8-288274C06C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573" y="205979"/>
            <a:ext cx="8381997" cy="461665"/>
          </a:xfrm>
        </p:spPr>
        <p:txBody>
          <a:bodyPr vert="horz"/>
          <a:lstStyle/>
          <a:p>
            <a:r>
              <a:rPr lang="nb-NO" sz="2400"/>
              <a:t>Intro til </a:t>
            </a:r>
            <a:r>
              <a:rPr lang="nb-NO" sz="2400" err="1"/>
              <a:t>BtB</a:t>
            </a:r>
            <a:r>
              <a:rPr lang="nb-NO" sz="2400"/>
              <a:t>-prosessen: Prosessoversikt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2AD9B4E-FC20-414F-94E1-549018DE932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26573" y="817542"/>
            <a:ext cx="7685363" cy="404762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F007CF7D-3AB6-4921-B68A-C22DBBBE0A7E}"/>
              </a:ext>
            </a:extLst>
          </p:cNvPr>
          <p:cNvSpPr txBox="1"/>
          <p:nvPr/>
        </p:nvSpPr>
        <p:spPr>
          <a:xfrm>
            <a:off x="7278804" y="4587560"/>
            <a:ext cx="134168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800">
                <a:hlinkClick r:id="rId7"/>
              </a:rPr>
              <a:t>Link til prosessoversikt</a:t>
            </a:r>
            <a:endParaRPr lang="nb-NO" sz="800"/>
          </a:p>
          <a:p>
            <a:r>
              <a:rPr lang="nb-NO" sz="800">
                <a:hlinkClick r:id="rId8"/>
              </a:rPr>
              <a:t>Link til prosesskart</a:t>
            </a:r>
            <a:endParaRPr lang="nb-NO" sz="800"/>
          </a:p>
        </p:txBody>
      </p:sp>
    </p:spTree>
    <p:extLst>
      <p:ext uri="{BB962C8B-B14F-4D97-AF65-F5344CB8AC3E}">
        <p14:creationId xmlns:p14="http://schemas.microsoft.com/office/powerpoint/2010/main" val="26349412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aKSskg._JnrYXWlrABv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aKSskg._JnrYXWlrABv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22nc0QvwiZ3znuOrOGd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hIB77P0CxpZ68A1ZDQjT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oceC9aenCddoR5plWKyu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chorvei\AppData\Local\Temp\Templafy\PowerPointVsto\Assets\chorvei.jp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aKSskg._JnrYXWlrABv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aKSskg._JnrYXWlrABv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aKSskg._JnrYXWlrABvw"/>
</p:tagLst>
</file>

<file path=ppt/theme/theme1.xml><?xml version="1.0" encoding="utf-8"?>
<a:theme xmlns:a="http://schemas.openxmlformats.org/drawingml/2006/main" name="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tnu_nn_16_9" id="{4910B9C1-D771-E44C-AB7F-12A684D03AF5}" vid="{81D91624-0E0F-3E4C-94FB-A3058ED54ED7}"/>
    </a:ext>
  </a:extLst>
</a:theme>
</file>

<file path=ppt/theme/theme2.xml><?xml version="1.0" encoding="utf-8"?>
<a:theme xmlns:a="http://schemas.openxmlformats.org/drawingml/2006/main" name="1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2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8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3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1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4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tnu_nn_16_9" id="{4910B9C1-D771-E44C-AB7F-12A684D03AF5}" vid="{81D91624-0E0F-3E4C-94FB-A3058ED54ED7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92f31348-0739-4467-8087-a9e650b26e61">
      <Terms xmlns="http://schemas.microsoft.com/office/infopath/2007/PartnerControls"/>
    </lcf76f155ced4ddcb4097134ff3c332f>
    <Kommentar xmlns="92f31348-0739-4467-8087-a9e650b26e61" xsi:nil="true"/>
    <TaxCatchAll xmlns="5a015d52-1a8c-45a9-b108-712092158594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DD5007D4960C04FABF7CEA7C1807523" ma:contentTypeVersion="17" ma:contentTypeDescription="Create a new document." ma:contentTypeScope="" ma:versionID="7dfea05eb712fcac0687887c432bca01">
  <xsd:schema xmlns:xsd="http://www.w3.org/2001/XMLSchema" xmlns:xs="http://www.w3.org/2001/XMLSchema" xmlns:p="http://schemas.microsoft.com/office/2006/metadata/properties" xmlns:ns2="92f31348-0739-4467-8087-a9e650b26e61" xmlns:ns3="5a015d52-1a8c-45a9-b108-712092158594" targetNamespace="http://schemas.microsoft.com/office/2006/metadata/properties" ma:root="true" ma:fieldsID="831fca681fd83310759626df4217888b" ns2:_="" ns3:_="">
    <xsd:import namespace="92f31348-0739-4467-8087-a9e650b26e61"/>
    <xsd:import namespace="5a015d52-1a8c-45a9-b108-71209215859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MediaServiceLocation" minOccurs="0"/>
                <xsd:element ref="ns2:lcf76f155ced4ddcb4097134ff3c332f" minOccurs="0"/>
                <xsd:element ref="ns3:TaxCatchAll" minOccurs="0"/>
                <xsd:element ref="ns2:Kommenta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2f31348-0739-4467-8087-a9e650b26e6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6e7bc199-5fe5-462f-a3d8-26f806c1f49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Kommentar" ma:index="24" nillable="true" ma:displayName="Kommentar" ma:format="Dropdown" ma:internalName="Kommentar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015d52-1a8c-45a9-b108-712092158594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2b9d8c2a-daee-47eb-bde9-bb910d7de7ac}" ma:internalName="TaxCatchAll" ma:showField="CatchAllData" ma:web="5a015d52-1a8c-45a9-b108-71209215859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083F270-11ED-4F08-A7D9-D3F9906BA1B0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92f31348-0739-4467-8087-a9e650b26e61"/>
    <ds:schemaRef ds:uri="5a015d52-1a8c-45a9-b108-712092158594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83D9C836-F99A-4B96-81F2-35EA25B4E15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3706DB7-D589-483A-988C-EF803A425D9E}">
  <ds:schemaRefs>
    <ds:schemaRef ds:uri="5a015d52-1a8c-45a9-b108-712092158594"/>
    <ds:schemaRef ds:uri="92f31348-0739-4467-8087-a9e650b26e6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tnu_nn_16_9</Template>
  <TotalTime>0</TotalTime>
  <Words>2705</Words>
  <Application>Microsoft Office PowerPoint</Application>
  <PresentationFormat>On-screen Show (16:9)</PresentationFormat>
  <Paragraphs>483</Paragraphs>
  <Slides>32</Slides>
  <Notes>29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2</vt:i4>
      </vt:variant>
    </vt:vector>
  </HeadingPairs>
  <TitlesOfParts>
    <vt:vector size="44" baseType="lpstr">
      <vt:lpstr>Arial</vt:lpstr>
      <vt:lpstr>Calibri</vt:lpstr>
      <vt:lpstr>Open Sans</vt:lpstr>
      <vt:lpstr>Poppins</vt:lpstr>
      <vt:lpstr>Office-tema</vt:lpstr>
      <vt:lpstr>1_Office-tema</vt:lpstr>
      <vt:lpstr>2_Office-tema</vt:lpstr>
      <vt:lpstr>8_Office-tema</vt:lpstr>
      <vt:lpstr>3_Office-tema</vt:lpstr>
      <vt:lpstr>1_Office-tema</vt:lpstr>
      <vt:lpstr>4_Office-tema</vt:lpstr>
      <vt:lpstr>think-cell Slide</vt:lpstr>
      <vt:lpstr>Behov til betaling –  Informasjonsmøte om opplæring</vt:lpstr>
      <vt:lpstr>PowerPoint Presentation</vt:lpstr>
      <vt:lpstr>Agenda</vt:lpstr>
      <vt:lpstr>Mål for møtet </vt:lpstr>
      <vt:lpstr>Hvorfor BOTT ØL Innføringen av nye økonomi- og lønnssystemer vil gi NTNU mange fordeler både i et fag- og brukerperspektiv</vt:lpstr>
      <vt:lpstr>PowerPoint Presentation</vt:lpstr>
      <vt:lpstr>Agenda</vt:lpstr>
      <vt:lpstr>Intro til btb-prosessen: Prosessflyt - Opprettelse av innkjøpeforespørsel og varemottak</vt:lpstr>
      <vt:lpstr>Intro til BtB-prosessen: Prosessoversikt</vt:lpstr>
      <vt:lpstr>Intro til BtB-prosessen: Roller</vt:lpstr>
      <vt:lpstr>PowerPoint Presentation</vt:lpstr>
      <vt:lpstr>PowerPoint Presentation</vt:lpstr>
      <vt:lpstr>Intro til BtB-prosessen: Samhandling mellom roller</vt:lpstr>
      <vt:lpstr>Hovedendringer fra dagens prosesser, roller og systemer  </vt:lpstr>
      <vt:lpstr>Agenda</vt:lpstr>
      <vt:lpstr>PowerPoint Presentation</vt:lpstr>
      <vt:lpstr>BOTT ØL - Opplæringsside</vt:lpstr>
      <vt:lpstr>PowerPoint Presentation</vt:lpstr>
      <vt:lpstr>PowerPoint Presentation</vt:lpstr>
      <vt:lpstr>PowerPoint Presentation</vt:lpstr>
      <vt:lpstr>Praktisk informasjon</vt:lpstr>
      <vt:lpstr>Egenlæring: BOTT ØL e-læring for rolle og prosess</vt:lpstr>
      <vt:lpstr>Gjennomføre BOTT e-læring</vt:lpstr>
      <vt:lpstr>PowerPoint Presentation</vt:lpstr>
      <vt:lpstr>Spørsmål om opplæring</vt:lpstr>
      <vt:lpstr>Spørsmål om opplæring?</vt:lpstr>
      <vt:lpstr>Agenda</vt:lpstr>
      <vt:lpstr>Hvor kan du finne mer informasjon</vt:lpstr>
      <vt:lpstr>Kontaktpersoner btb </vt:lpstr>
      <vt:lpstr>Agenda</vt:lpstr>
      <vt:lpstr>Spørsmål og svar</vt:lpstr>
      <vt:lpstr>PowerPoint Presentation</vt:lpstr>
    </vt:vector>
  </TitlesOfParts>
  <Company>NTNU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Åpningsside</dc:title>
  <dc:creator>Gry-Lene Johansen</dc:creator>
  <cp:lastModifiedBy>Merete Aagesen</cp:lastModifiedBy>
  <cp:revision>1</cp:revision>
  <cp:lastPrinted>2022-09-20T06:30:30Z</cp:lastPrinted>
  <dcterms:created xsi:type="dcterms:W3CDTF">2022-03-25T07:38:29Z</dcterms:created>
  <dcterms:modified xsi:type="dcterms:W3CDTF">2022-09-20T10:17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DD5007D4960C04FABF7CEA7C1807523</vt:lpwstr>
  </property>
  <property fmtid="{D5CDD505-2E9C-101B-9397-08002B2CF9AE}" pid="3" name="MSIP_Label_ea60d57e-af5b-4752-ac57-3e4f28ca11dc_Enabled">
    <vt:lpwstr>true</vt:lpwstr>
  </property>
  <property fmtid="{D5CDD505-2E9C-101B-9397-08002B2CF9AE}" pid="4" name="MSIP_Label_ea60d57e-af5b-4752-ac57-3e4f28ca11dc_SetDate">
    <vt:lpwstr>2022-04-27T09:36:24Z</vt:lpwstr>
  </property>
  <property fmtid="{D5CDD505-2E9C-101B-9397-08002B2CF9AE}" pid="5" name="MSIP_Label_ea60d57e-af5b-4752-ac57-3e4f28ca11dc_Method">
    <vt:lpwstr>Standard</vt:lpwstr>
  </property>
  <property fmtid="{D5CDD505-2E9C-101B-9397-08002B2CF9AE}" pid="6" name="MSIP_Label_ea60d57e-af5b-4752-ac57-3e4f28ca11dc_Name">
    <vt:lpwstr>ea60d57e-af5b-4752-ac57-3e4f28ca11dc</vt:lpwstr>
  </property>
  <property fmtid="{D5CDD505-2E9C-101B-9397-08002B2CF9AE}" pid="7" name="MSIP_Label_ea60d57e-af5b-4752-ac57-3e4f28ca11dc_SiteId">
    <vt:lpwstr>36da45f1-dd2c-4d1f-af13-5abe46b99921</vt:lpwstr>
  </property>
  <property fmtid="{D5CDD505-2E9C-101B-9397-08002B2CF9AE}" pid="8" name="MSIP_Label_ea60d57e-af5b-4752-ac57-3e4f28ca11dc_ActionId">
    <vt:lpwstr>07bf267c-82bd-486a-8860-ea7de6759f39</vt:lpwstr>
  </property>
  <property fmtid="{D5CDD505-2E9C-101B-9397-08002B2CF9AE}" pid="9" name="MSIP_Label_ea60d57e-af5b-4752-ac57-3e4f28ca11dc_ContentBits">
    <vt:lpwstr>0</vt:lpwstr>
  </property>
  <property fmtid="{D5CDD505-2E9C-101B-9397-08002B2CF9AE}" pid="10" name="MediaServiceImageTags">
    <vt:lpwstr/>
  </property>
</Properties>
</file>